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1" r:id="rId5"/>
  </p:sldMasterIdLst>
  <p:notesMasterIdLst>
    <p:notesMasterId r:id="rId20"/>
  </p:notesMasterIdLst>
  <p:handoutMasterIdLst>
    <p:handoutMasterId r:id="rId21"/>
  </p:handoutMasterIdLst>
  <p:sldIdLst>
    <p:sldId id="2147379359" r:id="rId6"/>
    <p:sldId id="5768" r:id="rId7"/>
    <p:sldId id="2147379361" r:id="rId8"/>
    <p:sldId id="2147379373" r:id="rId9"/>
    <p:sldId id="2147379374" r:id="rId10"/>
    <p:sldId id="2147379375" r:id="rId11"/>
    <p:sldId id="2147379378" r:id="rId12"/>
    <p:sldId id="2147379377" r:id="rId13"/>
    <p:sldId id="2147379376" r:id="rId14"/>
    <p:sldId id="2147379391" r:id="rId15"/>
    <p:sldId id="2147379392" r:id="rId16"/>
    <p:sldId id="2147379394" r:id="rId17"/>
    <p:sldId id="2147379393" r:id="rId18"/>
    <p:sldId id="5704" r:id="rId19"/>
  </p:sldIdLst>
  <p:sldSz cx="12192000" cy="6858000"/>
  <p:notesSz cx="7010400" cy="9296400"/>
  <p:defaultTex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459" userDrawn="1">
          <p15:clr>
            <a:srgbClr val="A4A3A4"/>
          </p15:clr>
        </p15:guide>
        <p15:guide id="4" pos="5223" userDrawn="1">
          <p15:clr>
            <a:srgbClr val="A4A3A4"/>
          </p15:clr>
        </p15:guide>
        <p15:guide id="5" orient="horz" pos="1049" userDrawn="1">
          <p15:clr>
            <a:srgbClr val="A4A3A4"/>
          </p15:clr>
        </p15:guide>
        <p15:guide id="6" orient="horz" pos="754" userDrawn="1">
          <p15:clr>
            <a:srgbClr val="A4A3A4"/>
          </p15:clr>
        </p15:guide>
        <p15:guide id="7" pos="234" userDrawn="1">
          <p15:clr>
            <a:srgbClr val="A4A3A4"/>
          </p15:clr>
        </p15:guide>
        <p15:guide id="8" orient="horz" pos="1003" userDrawn="1">
          <p15:clr>
            <a:srgbClr val="A4A3A4"/>
          </p15:clr>
        </p15:guide>
        <p15:guide id="10" pos="3840" userDrawn="1">
          <p15:clr>
            <a:srgbClr val="A4A3A4"/>
          </p15:clr>
        </p15:guide>
        <p15:guide id="11" pos="438" userDrawn="1">
          <p15:clr>
            <a:srgbClr val="A4A3A4"/>
          </p15:clr>
        </p15:guide>
        <p15:guide id="12" pos="6221" userDrawn="1">
          <p15:clr>
            <a:srgbClr val="A4A3A4"/>
          </p15:clr>
        </p15:guide>
        <p15:guide id="13" pos="7219" userDrawn="1">
          <p15:clr>
            <a:srgbClr val="A4A3A4"/>
          </p15:clr>
        </p15:guide>
        <p15:guide id="14" orient="horz" pos="4088" userDrawn="1">
          <p15:clr>
            <a:srgbClr val="A4A3A4"/>
          </p15:clr>
        </p15:guide>
        <p15:guide id="16" pos="2570" userDrawn="1">
          <p15:clr>
            <a:srgbClr val="A4A3A4"/>
          </p15:clr>
        </p15:guide>
        <p15:guide id="17" pos="2865" userDrawn="1">
          <p15:clr>
            <a:srgbClr val="A4A3A4"/>
          </p15:clr>
        </p15:guide>
        <p15:guide id="19" orient="horz" pos="3929" userDrawn="1">
          <p15:clr>
            <a:srgbClr val="A4A3A4"/>
          </p15:clr>
        </p15:guide>
        <p15:guide id="20" pos="6516" userDrawn="1">
          <p15:clr>
            <a:srgbClr val="A4A3A4"/>
          </p15:clr>
        </p15:guide>
        <p15:guide id="21" orient="horz" pos="2296" userDrawn="1">
          <p15:clr>
            <a:srgbClr val="A4A3A4"/>
          </p15:clr>
        </p15:guide>
        <p15:guide id="22" orient="horz" pos="2455" userDrawn="1">
          <p15:clr>
            <a:srgbClr val="A4A3A4"/>
          </p15:clr>
        </p15:guide>
        <p15:guide id="23" orient="horz" pos="3362" userDrawn="1">
          <p15:clr>
            <a:srgbClr val="A4A3A4"/>
          </p15:clr>
        </p15:guide>
        <p15:guide id="24" orient="horz" pos="845" userDrawn="1">
          <p15:clr>
            <a:srgbClr val="A4A3A4"/>
          </p15:clr>
        </p15:guide>
        <p15:guide id="25" orient="horz" pos="1117" userDrawn="1">
          <p15:clr>
            <a:srgbClr val="A4A3A4"/>
          </p15:clr>
        </p15:guide>
        <p15:guide id="26" pos="3940" userDrawn="1">
          <p15:clr>
            <a:srgbClr val="A4A3A4"/>
          </p15:clr>
        </p15:guide>
        <p15:guide id="27" pos="40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BB29500-D30A-5EA8-E3E4-B87CE7538699}" name="Campbell Fuller" initials="CF" userId="S::Campbell.Fuller@treasury.nsw.gov.au::2a5fdc5f-8f8a-49eb-9de9-76db1b27e4dc" providerId="AD"/>
  <p188:author id="{D5090707-5DEC-0DF7-E758-4027C77AC324}" name="Natalie Garlick" initials="NG" userId="S::natalie@kamber.com.au::6bb637d6-2901-4ddc-a6aa-a8e5fac4a727" providerId="AD"/>
  <p188:author id="{F325CE08-2A31-1732-50AC-39045F09690B}" name="Catherine Shine (Ministry of Health)" initials="CH" userId="S::catherine.shine_health.nsw.gov.au#ext#@nswgov.onmicrosoft.com::62e9ef66-2f36-435d-ab0e-75974f660041" providerId="AD"/>
  <p188:author id="{D4EBBB09-4AAC-A782-40B5-793A3E7FDF63}" name="Claire Hargreave" initials="CH" userId="S::claire.hargreave@customerservice.nsw.gov.au::1b35c9f9-b1c1-4695-94ed-75a997571a80" providerId="AD"/>
  <p188:author id="{50243310-1C9E-37F8-A039-670BB7A7B9E5}" name="Selina Liu" initials="SL" userId="S::selina.liu@customerservice.nsw.gov.au::e87d98b3-7c3a-4020-900d-3bea16ceb5b7" providerId="AD"/>
  <p188:author id="{96087923-01A0-FC69-E5BB-638507C43479}" name="Darren Behar" initials="DB" userId="S::dbehar@senateshj.com.au::e52b45e1-fd59-4018-8a90-18ae742eb3d0" providerId="AD"/>
  <p188:author id="{E68DBF29-173B-1EE4-E980-EBF86C79181A}" name="Editor" initials="Editor" userId="Editor" providerId="None"/>
  <p188:author id="{752BE82A-5498-9965-3B6C-B9EE3BF30B59}" name="Natasha Dervisevic" initials="ND" userId="S::natasha.dervisevic1@customerservice.nsw.gov.au::a45ce085-72d8-47c3-8743-c62d2401fecc" providerId="AD"/>
  <p188:author id="{90299137-46C7-0211-D58F-036D0C601F81}" name="James Lotherington" initials="JL" userId="S::James.Lotherington@customerservice.nsw.gov.au::d0416d68-8be0-4ea1-8179-880970e76bb3" providerId="AD"/>
  <p188:author id="{874B973C-6CC5-1713-9D91-272603E1E9FE}" name="Vanessa Barrett" initials="VB" userId="S::vanessa.barrett@customerservice.nsw.gov.au::86ab1923-f0b4-43d6-9c84-4c70e70cd13b" providerId="AD"/>
  <p188:author id="{0EBBB641-C4AE-3758-327F-DF3D4884E1C1}" name="Ashley Langton (Ministry of Health)" initials="AL(oH" userId="S::Ashley.Langton@health.nsw.gov.au::23c5cdc6-43bf-4fe9-8633-d8cdb88bcb0f" providerId="AD"/>
  <p188:author id="{3D96C141-F2EC-D866-D9AB-32D6D84424F6}" name="Natasha Dervisevic" initials="ND" userId="S::Natasha.Dervisevic1@customerservice.nsw.gov.au::a45ce085-72d8-47c3-8743-c62d2401fecc" providerId="AD"/>
  <p188:author id="{F90D9652-FE79-F4E9-0D3D-F32E1B6609F5}" name="Kara Lawrence" initials="KL" userId="S::kara.lawrence@customerservice.nsw.gov.au::30fc6d3f-e1bb-4db7-bb11-31403e46e0b2" providerId="AD"/>
  <p188:author id="{625C4455-E1B2-1915-BD9B-B75B1DA3A1CC}" name="Alina Caballero" initials="AC" userId="S::Alina.Caballero@treasury.nsw.gov.au::66a72b85-8a62-4952-bc42-994233a11f24" providerId="AD"/>
  <p188:author id="{A26C0D69-6890-4255-B57E-FE4AFAB5BF3D}" name="Lee Cheng Koay" initials="LK" userId="S::lkoay@senateshj.com.au::8eec435a-143a-41bc-abce-9242c647d064" providerId="AD"/>
  <p188:author id="{EE195E6B-C9AD-EBF7-806A-A354DD2B3A58}" name="Jodie Wrigley" initials="JW" userId="Jodie Wrigley" providerId="None"/>
  <p188:author id="{07C07173-5256-1EBD-63AE-7828D506CE44}" name="Natalie Yu" initials="NY" userId="S::natalie.yu@customerservice.nsw.gov.au::eb1d2613-2f2c-40b2-8126-c80f27876de2" providerId="AD"/>
  <p188:author id="{4E661F80-4947-9FC0-30B7-836D922AC26C}" name="Karina Fretwell (Ministry of Health)" initials="KH" userId="S::karina.fretwell_health.nsw.gov.au#ext#@nswgov.onmicrosoft.com::29d5c813-8046-4a63-809c-e6897c52cfee" providerId="AD"/>
  <p188:author id="{8A11B483-3204-56CD-5CBA-D846FB259491}" name="Natalie Garlick" initials="NG" userId="S::Natalie@kamber.com.au::6bb637d6-2901-4ddc-a6aa-a8e5fac4a727" providerId="AD"/>
  <p188:author id="{4B049387-3742-554C-518D-E1FA551E7ACD}" name="Sarah Ayache" initials="SA" userId="S::Sayache@senateshj.com.au::6d8bb6ca-f01f-4bf7-9e97-d66d96e8a281" providerId="AD"/>
  <p188:author id="{6913CD89-8963-BBCB-326F-1F3CAAFD65B1}" name="Ellice Cohen" initials="EC" userId="S::ECohen@senateshj.com.au::a3c024fc-bfa3-4347-b626-3dd0e2903ceb" providerId="AD"/>
  <p188:author id="{B748AE93-DC32-89ED-17FC-B7E663274AE1}" name="Nellie Blundell" initials="NB" userId="S::nellie.blundell@customerservice.nsw.gov.au::be8a26ec-2a79-43a1-87b3-96d307bb8653" providerId="AD"/>
  <p188:author id="{2A3A08A0-9910-46F7-1B3D-717043B0987C}" name="Shannon Camilleri" initials="SC" userId="S::SCamilleri@senateshj.com.au::920a824d-cb69-4bef-9932-73050dd83baf" providerId="AD"/>
  <p188:author id="{205EEDA8-02EA-8FE5-DBC1-779E335C9429}" name="Rebecca Wickham" initials="RW" userId="S::Rebecca.Wickham@customerservice.nsw.gov.au::65a18ad2-4973-4a17-9495-e29c44e6e9ef" providerId="AD"/>
  <p188:author id="{4FB7B7A9-42CB-0D48-6543-04F5C3D407CA}" name="Caroline Leeming" initials="CL" userId="S::caroline_senateshj.com.au#ext#@nswgov.onmicrosoft.com::d6caddbf-8017-4f62-afe0-5a2ccd7846b3" providerId="AD"/>
  <p188:author id="{7EBF5CAA-F531-0E9D-9344-184193B180E1}" name="Rachael CLARKE (Ministry of Health)" initials="RH" userId="S::rachael.clarke1_health.nsw.gov.au#ext#@nswgov.onmicrosoft.com::e908a464-0eca-44fb-a8c8-b3640f24eac9" providerId="AD"/>
  <p188:author id="{32BD8AAA-769C-A216-4E23-75BB4E7E38A7}" name="Adam Shrosbree" initials="AS" userId="S::ashrosbree@kamber.com.au::bb33f6fe-ede1-4416-bdef-24f3ccd54919" providerId="AD"/>
  <p188:author id="{81CFC7AA-5A7D-FBA1-390E-DD1281EEF6E9}" name="Aaron Prestipino" initials="AP" userId="S::APrestipino@senateshj.com.au::3ed81df2-4a98-45b4-94af-1d148dbcf4f3" providerId="AD"/>
  <p188:author id="{9FB553AC-FBB1-C2F4-BE7C-8F031341EE34}" name="Ciara McMullan" initials="CM" userId="S::cmcmullan@senateshj.com.au::a3cf1ff8-8748-4590-843a-a120dfc419db" providerId="AD"/>
  <p188:author id="{7A7C06AE-9D1F-FE79-0B7F-D8BCC1CD1F8E}" name="Caroline Leeming" initials="CL" userId="S::CLeeming@senateshj.com.au::e6e9b4a6-9476-48ba-ab27-ee299bb43606" providerId="AD"/>
  <p188:author id="{80CD5BB6-226A-A7B3-5D11-9F25478425A9}" name="Chloe Woodgate" initials="CW" userId="S::chloe.woodgate@customerservice.nsw.gov.au::adc51c57-5a6b-48ea-a4a6-bafe9e6fcaea" providerId="AD"/>
  <p188:author id="{C8FE93BC-454F-60D4-0354-A99B63C481A1}" name="Jessica Cooper" initials="JC" userId="S::Jessica.Cooper@customerservice.nsw.gov.au::ae72c243-b9fb-4afd-83b4-5357fa8f0da5" providerId="AD"/>
  <p188:author id="{989BFEBC-2F53-9FA5-18AA-B189F7AE3DA1}" name="Nic Phillips" initials="NP" userId="S::nphillips@senateshj.com.au::08a9d3b1-7512-4dd5-9b14-f26b880f737e" providerId="AD"/>
  <p188:author id="{C58A5DC8-2CD1-BDDB-6931-388B95826714}" name="Ellice Cohen" initials="EC" userId="S::ecohen@senateshj.com.au::a3c024fc-bfa3-4347-b626-3dd0e2903ceb" providerId="AD"/>
  <p188:author id="{95A3A4CC-896E-AEAC-1D93-41AFB21D9EA4}" name="Kim Nguyen" initials="KN" userId="S::kim.nguyen@customerservice.nsw.gov.au::c3d23c65-e869-4c64-9ba8-b7fa53651f0f" providerId="AD"/>
  <p188:author id="{529793D9-CAE0-6515-0207-088F1FA8169C}" name="Shannon Camilleri" initials="SC" userId="S::scamilleri@senateshj.com.au::920a824d-cb69-4bef-9932-73050dd83baf" providerId="AD"/>
  <p188:author id="{7E88A7DD-0A1F-C869-14F0-4545F72D1B70}" name="Madeleine Kastner" initials="MK" userId="S::MKastner@senateshj.com.au::76ec23af-c753-4980-8984-afc6d1b5860a" providerId="AD"/>
  <p188:author id="{372CF2DF-0B99-27BA-0AB7-4747727A2823}" name="Jodie Wrigley" initials="JW" userId="S::jodie_senateshj.com.au#ext#@nswgov.onmicrosoft.com::7e9e765d-364d-4868-b187-7ef40f2ac458" providerId="AD"/>
  <p188:author id="{261629E9-9A78-D93B-D470-088CEF8183DD}" name="Caroline Leeming" initials="CL" userId="S::cleeming@senateshj.com.au::e6e9b4a6-9476-48ba-ab27-ee299bb43606" providerId="AD"/>
  <p188:author id="{298280ED-83B4-C6E9-7426-A1ED5EC83637}" name="AMANDA STEPHINSON (Ministry of Health)" initials="AH" userId="S::amanda.stephinson_health.nsw.gov.au#ext#@nswgov.onmicrosoft.com::f012534e-8b9a-4d97-96cf-3782b54611ac" providerId="AD"/>
  <p188:author id="{BEE5FBF3-8EEA-1F3D-6B8E-0F7F13EDB0CE}" name="Amanda Atkinson" initials="AA" userId="S::Amanda.Atkinson@customerservice.nsw.gov.au::2b6593e2-6f39-4381-bed7-96226d66985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atherine Shine (Ministry of Health)" initials="CH" lastIdx="10" clrIdx="0">
    <p:extLst>
      <p:ext uri="{19B8F6BF-5375-455C-9EA6-DF929625EA0E}">
        <p15:presenceInfo xmlns:p15="http://schemas.microsoft.com/office/powerpoint/2012/main" userId="S::catherine.shine_health.nsw.gov.au#ext#@nswgov.onmicrosoft.com::62e9ef66-2f36-435d-ab0e-75974f660041" providerId="AD"/>
      </p:ext>
    </p:extLst>
  </p:cmAuthor>
  <p:cmAuthor id="2" name="Lauren Smith" initials="LS" lastIdx="34" clrIdx="1">
    <p:extLst>
      <p:ext uri="{19B8F6BF-5375-455C-9EA6-DF929625EA0E}">
        <p15:presenceInfo xmlns:p15="http://schemas.microsoft.com/office/powerpoint/2012/main" userId="S::Lauren.Smith@customerservice.nsw.gov.au::d00a61e9-717f-4de6-b1ca-f87e381e40d0" providerId="AD"/>
      </p:ext>
    </p:extLst>
  </p:cmAuthor>
  <p:cmAuthor id="3" name="Caroline Leeming" initials="CL" lastIdx="104" clrIdx="2">
    <p:extLst>
      <p:ext uri="{19B8F6BF-5375-455C-9EA6-DF929625EA0E}">
        <p15:presenceInfo xmlns:p15="http://schemas.microsoft.com/office/powerpoint/2012/main" userId="S::CLeeming@senateshj.com.au::e6e9b4a6-9476-48ba-ab27-ee299bb43606" providerId="AD"/>
      </p:ext>
    </p:extLst>
  </p:cmAuthor>
  <p:cmAuthor id="4" name="Editor" initials="Editor" lastIdx="8" clrIdx="3">
    <p:extLst>
      <p:ext uri="{19B8F6BF-5375-455C-9EA6-DF929625EA0E}">
        <p15:presenceInfo xmlns:p15="http://schemas.microsoft.com/office/powerpoint/2012/main" userId="Editor" providerId="None"/>
      </p:ext>
    </p:extLst>
  </p:cmAuthor>
  <p:cmAuthor id="5" name="Chloe Woodgate" initials="CW" lastIdx="51" clrIdx="4">
    <p:extLst>
      <p:ext uri="{19B8F6BF-5375-455C-9EA6-DF929625EA0E}">
        <p15:presenceInfo xmlns:p15="http://schemas.microsoft.com/office/powerpoint/2012/main" userId="S::chloe.woodgate@customerservice.nsw.gov.au::adc51c57-5a6b-48ea-a4a6-bafe9e6fcaea" providerId="AD"/>
      </p:ext>
    </p:extLst>
  </p:cmAuthor>
  <p:cmAuthor id="6" name="Irena Kelava" initials="IK" lastIdx="4" clrIdx="5">
    <p:extLst>
      <p:ext uri="{19B8F6BF-5375-455C-9EA6-DF929625EA0E}">
        <p15:presenceInfo xmlns:p15="http://schemas.microsoft.com/office/powerpoint/2012/main" userId="S::Irena.Kelava@customerservice.nsw.gov.au::7a922577-a4c7-4446-8d28-52c7afad9375" providerId="AD"/>
      </p:ext>
    </p:extLst>
  </p:cmAuthor>
  <p:cmAuthor id="7" name="Rebecca Wickham" initials="RW" lastIdx="2" clrIdx="6">
    <p:extLst>
      <p:ext uri="{19B8F6BF-5375-455C-9EA6-DF929625EA0E}">
        <p15:presenceInfo xmlns:p15="http://schemas.microsoft.com/office/powerpoint/2012/main" userId="S::rebecca.wickham@customerservice.nsw.gov.au::65a18ad2-4973-4a17-9495-e29c44e6e9ef" providerId="AD"/>
      </p:ext>
    </p:extLst>
  </p:cmAuthor>
  <p:cmAuthor id="8" name="Vanessa Barrett" initials="VB" lastIdx="1" clrIdx="7">
    <p:extLst>
      <p:ext uri="{19B8F6BF-5375-455C-9EA6-DF929625EA0E}">
        <p15:presenceInfo xmlns:p15="http://schemas.microsoft.com/office/powerpoint/2012/main" userId="S::vanessa.barrett@customerservice.nsw.gov.au::86ab1923-f0b4-43d6-9c84-4c70e70cd13b" providerId="AD"/>
      </p:ext>
    </p:extLst>
  </p:cmAuthor>
  <p:cmAuthor id="9" name="Jessica Cooper" initials="JC" lastIdx="1" clrIdx="8">
    <p:extLst>
      <p:ext uri="{19B8F6BF-5375-455C-9EA6-DF929625EA0E}">
        <p15:presenceInfo xmlns:p15="http://schemas.microsoft.com/office/powerpoint/2012/main" userId="S::Jessica.Cooper@customerservice.nsw.gov.au::ae72c243-b9fb-4afd-83b4-5357fa8f0da5" providerId="AD"/>
      </p:ext>
    </p:extLst>
  </p:cmAuthor>
  <p:cmAuthor id="10" name="Isobel Scouler" initials="IS" lastIdx="7" clrIdx="9">
    <p:extLst>
      <p:ext uri="{19B8F6BF-5375-455C-9EA6-DF929625EA0E}">
        <p15:presenceInfo xmlns:p15="http://schemas.microsoft.com/office/powerpoint/2012/main" userId="S::Isobel.Scouler@customerservice.nsw.gov.au::67b95ebe-c015-4fa2-ad9c-585579fbe255" providerId="AD"/>
      </p:ext>
    </p:extLst>
  </p:cmAuthor>
  <p:cmAuthor id="11" name="Kelly Evans" initials="KE" lastIdx="3" clrIdx="10">
    <p:extLst>
      <p:ext uri="{19B8F6BF-5375-455C-9EA6-DF929625EA0E}">
        <p15:presenceInfo xmlns:p15="http://schemas.microsoft.com/office/powerpoint/2012/main" userId="S::Kelly.Evans@customerservice.nsw.gov.au::5589b779-9063-4981-8188-62ff3b71621e" providerId="AD"/>
      </p:ext>
    </p:extLst>
  </p:cmAuthor>
  <p:cmAuthor id="12" name="Nicole Douglas (Ministry of Health)" initials="ND(oH" lastIdx="23" clrIdx="11">
    <p:extLst>
      <p:ext uri="{19B8F6BF-5375-455C-9EA6-DF929625EA0E}">
        <p15:presenceInfo xmlns:p15="http://schemas.microsoft.com/office/powerpoint/2012/main" userId="S-1-5-21-1645522239-1647877149-682003330-816089" providerId="AD"/>
      </p:ext>
    </p:extLst>
  </p:cmAuthor>
  <p:cmAuthor id="13" name="Catherine Shine (Ministry of Health)" initials="CS(oH" lastIdx="11" clrIdx="12">
    <p:extLst>
      <p:ext uri="{19B8F6BF-5375-455C-9EA6-DF929625EA0E}">
        <p15:presenceInfo xmlns:p15="http://schemas.microsoft.com/office/powerpoint/2012/main" userId="S::Catherine.Shine@health.nsw.gov.au::edb218e9-1d6f-49cf-a0cb-7554d573e7c7" providerId="AD"/>
      </p:ext>
    </p:extLst>
  </p:cmAuthor>
  <p:cmAuthor id="14" name="Jim Kelly" initials="JK" lastIdx="3" clrIdx="13">
    <p:extLst>
      <p:ext uri="{19B8F6BF-5375-455C-9EA6-DF929625EA0E}">
        <p15:presenceInfo xmlns:p15="http://schemas.microsoft.com/office/powerpoint/2012/main" userId="S::Jim.Kelly@safework.nsw.gov.au::56ec8ce4-db17-4f0e-b1f8-940f05ba5e3b" providerId="AD"/>
      </p:ext>
    </p:extLst>
  </p:cmAuthor>
  <p:cmAuthor id="15" name="Nellie Blundell" initials="NB" lastIdx="8" clrIdx="14">
    <p:extLst>
      <p:ext uri="{19B8F6BF-5375-455C-9EA6-DF929625EA0E}">
        <p15:presenceInfo xmlns:p15="http://schemas.microsoft.com/office/powerpoint/2012/main" userId="S::Nellie.Blundell@customerservice.nsw.gov.au::be8a26ec-2a79-43a1-87b3-96d307bb8653" providerId="AD"/>
      </p:ext>
    </p:extLst>
  </p:cmAuthor>
  <p:cmAuthor id="16" name="Natasha Dervisevic" initials="ND" lastIdx="3" clrIdx="15">
    <p:extLst>
      <p:ext uri="{19B8F6BF-5375-455C-9EA6-DF929625EA0E}">
        <p15:presenceInfo xmlns:p15="http://schemas.microsoft.com/office/powerpoint/2012/main" userId="S::natasha.dervisevic1@customerservice.nsw.gov.au::a45ce085-72d8-47c3-8743-c62d2401fecc" providerId="AD"/>
      </p:ext>
    </p:extLst>
  </p:cmAuthor>
  <p:cmAuthor id="17" name="Nicole Douglas (Ministry of Health)" initials="ND(oH [2]" lastIdx="4" clrIdx="16">
    <p:extLst>
      <p:ext uri="{19B8F6BF-5375-455C-9EA6-DF929625EA0E}">
        <p15:presenceInfo xmlns:p15="http://schemas.microsoft.com/office/powerpoint/2012/main" userId="S::Nicole.Douglas@health.nsw.gov.au::06ba2403-4bb5-4799-a394-9e78903ec4c9" providerId="AD"/>
      </p:ext>
    </p:extLst>
  </p:cmAuthor>
  <p:cmAuthor id="18" name="Karina Fretwell (Ministry of Health)" initials="KF(oH" lastIdx="6" clrIdx="17">
    <p:extLst>
      <p:ext uri="{19B8F6BF-5375-455C-9EA6-DF929625EA0E}">
        <p15:presenceInfo xmlns:p15="http://schemas.microsoft.com/office/powerpoint/2012/main" userId="S::Karina.Fretwell@health.nsw.gov.au::a6ac5187-8005-4c59-a29d-903fc02f5882" providerId="AD"/>
      </p:ext>
    </p:extLst>
  </p:cmAuthor>
  <p:cmAuthor id="19" name="Claire Hargreave" initials="CH" lastIdx="11" clrIdx="18">
    <p:extLst>
      <p:ext uri="{19B8F6BF-5375-455C-9EA6-DF929625EA0E}">
        <p15:presenceInfo xmlns:p15="http://schemas.microsoft.com/office/powerpoint/2012/main" userId="S::Claire.Hargreave@customerservice.nsw.gov.au::1b35c9f9-b1c1-4695-94ed-75a997571a80" providerId="AD"/>
      </p:ext>
    </p:extLst>
  </p:cmAuthor>
  <p:cmAuthor id="20" name="Jodie Wrigley" initials="JW" lastIdx="7" clrIdx="19">
    <p:extLst>
      <p:ext uri="{19B8F6BF-5375-455C-9EA6-DF929625EA0E}">
        <p15:presenceInfo xmlns:p15="http://schemas.microsoft.com/office/powerpoint/2012/main" userId="Jodie Wrigley" providerId="None"/>
      </p:ext>
    </p:extLst>
  </p:cmAuthor>
  <p:cmAuthor id="21" name="Natalie Garlick" initials="NG" lastIdx="1" clrIdx="20">
    <p:extLst>
      <p:ext uri="{19B8F6BF-5375-455C-9EA6-DF929625EA0E}">
        <p15:presenceInfo xmlns:p15="http://schemas.microsoft.com/office/powerpoint/2012/main" userId="S::Natalie@kamber.com.au::6bb637d6-2901-4ddc-a6aa-a8e5fac4a727" providerId="AD"/>
      </p:ext>
    </p:extLst>
  </p:cmAuthor>
  <p:cmAuthor id="22" name="Ashley Langton (Ministry of Health)" initials="AL(oH" lastIdx="5" clrIdx="21">
    <p:extLst>
      <p:ext uri="{19B8F6BF-5375-455C-9EA6-DF929625EA0E}">
        <p15:presenceInfo xmlns:p15="http://schemas.microsoft.com/office/powerpoint/2012/main" userId="S::Ashley.Langton@health.nsw.gov.au::23c5cdc6-43bf-4fe9-8633-d8cdb88bcb0f" providerId="AD"/>
      </p:ext>
    </p:extLst>
  </p:cmAuthor>
  <p:cmAuthor id="23" name="Madeleine Kastner" initials="MK" lastIdx="2" clrIdx="22">
    <p:extLst>
      <p:ext uri="{19B8F6BF-5375-455C-9EA6-DF929625EA0E}">
        <p15:presenceInfo xmlns:p15="http://schemas.microsoft.com/office/powerpoint/2012/main" userId="S::MKastner@senateshj.com.au::76ec23af-c753-4980-8984-afc6d1b5860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F3E2E6"/>
    <a:srgbClr val="000000"/>
    <a:srgbClr val="F6ACB6"/>
    <a:srgbClr val="FFFFFF"/>
    <a:srgbClr val="EBEBEB"/>
    <a:srgbClr val="630019"/>
    <a:srgbClr val="CBEDFD"/>
    <a:srgbClr val="D7153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D534BE5-8449-4879-9F9B-DECD09F013BB}" v="1" dt="2022-11-09T03:35:58.880"/>
    <p1510:client id="{7B778DC1-970F-94A7-0F8C-99A95932AE32}" v="2" dt="2022-11-09T03:41:42.02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2" d="100"/>
          <a:sy n="62" d="100"/>
        </p:scale>
        <p:origin x="954" y="66"/>
      </p:cViewPr>
      <p:guideLst>
        <p:guide orient="horz" pos="459"/>
        <p:guide pos="5223"/>
        <p:guide orient="horz" pos="1049"/>
        <p:guide orient="horz" pos="754"/>
        <p:guide pos="234"/>
        <p:guide orient="horz" pos="1003"/>
        <p:guide pos="3840"/>
        <p:guide pos="438"/>
        <p:guide pos="6221"/>
        <p:guide pos="7219"/>
        <p:guide orient="horz" pos="4088"/>
        <p:guide pos="2570"/>
        <p:guide pos="2865"/>
        <p:guide orient="horz" pos="3929"/>
        <p:guide pos="6516"/>
        <p:guide orient="horz" pos="2296"/>
        <p:guide orient="horz" pos="2455"/>
        <p:guide orient="horz" pos="3362"/>
        <p:guide orient="horz" pos="845"/>
        <p:guide orient="horz" pos="1117"/>
        <p:guide pos="3940"/>
        <p:guide pos="40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presProps" Target="presProps.xml"/><Relationship Id="rId28" Type="http://schemas.microsoft.com/office/2018/10/relationships/authors" Target="author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commentAuthors" Target="commentAuthors.xml"/><Relationship Id="rId27"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43F5A19-4E20-4EDB-9EC8-DF02AC748E78}"/>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AU"/>
          </a:p>
        </p:txBody>
      </p:sp>
      <p:sp>
        <p:nvSpPr>
          <p:cNvPr id="3" name="Date Placeholder 2">
            <a:extLst>
              <a:ext uri="{FF2B5EF4-FFF2-40B4-BE49-F238E27FC236}">
                <a16:creationId xmlns:a16="http://schemas.microsoft.com/office/drawing/2014/main" id="{6F2B4FC2-E151-470D-9291-01D2A5A6D34B}"/>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B0BF4B7B-ADA4-42BE-A113-1D67CA67812F}" type="datetimeFigureOut">
              <a:rPr lang="en-AU" smtClean="0"/>
              <a:t>8/11/2022</a:t>
            </a:fld>
            <a:endParaRPr lang="en-AU"/>
          </a:p>
        </p:txBody>
      </p:sp>
      <p:sp>
        <p:nvSpPr>
          <p:cNvPr id="4" name="Footer Placeholder 3">
            <a:extLst>
              <a:ext uri="{FF2B5EF4-FFF2-40B4-BE49-F238E27FC236}">
                <a16:creationId xmlns:a16="http://schemas.microsoft.com/office/drawing/2014/main" id="{2F07DE46-ED0B-49F3-8199-C129451A46B7}"/>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AU"/>
          </a:p>
        </p:txBody>
      </p:sp>
      <p:sp>
        <p:nvSpPr>
          <p:cNvPr id="5" name="Slide Number Placeholder 4">
            <a:extLst>
              <a:ext uri="{FF2B5EF4-FFF2-40B4-BE49-F238E27FC236}">
                <a16:creationId xmlns:a16="http://schemas.microsoft.com/office/drawing/2014/main" id="{56DA6684-5527-4DB9-88B5-C4F66FB5F787}"/>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8AAF8501-5769-46EC-B8B9-363B75FA9999}" type="slidenum">
              <a:rPr lang="en-AU" smtClean="0"/>
              <a:t>‹#›</a:t>
            </a:fld>
            <a:endParaRPr lang="en-AU"/>
          </a:p>
        </p:txBody>
      </p:sp>
    </p:spTree>
    <p:extLst>
      <p:ext uri="{BB962C8B-B14F-4D97-AF65-F5344CB8AC3E}">
        <p14:creationId xmlns:p14="http://schemas.microsoft.com/office/powerpoint/2010/main" val="41447938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AU"/>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EC6F825C-382E-4C1A-82AB-BCE4AFD21ABE}" type="datetimeFigureOut">
              <a:rPr lang="en-AU" smtClean="0"/>
              <a:t>8/11/2022</a:t>
            </a:fld>
            <a:endParaRPr lang="en-AU"/>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AU"/>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AU"/>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B07158C4-A119-4B78-9DE8-A50001BC31DC}" type="slidenum">
              <a:rPr lang="en-AU" smtClean="0"/>
              <a:t>‹#›</a:t>
            </a:fld>
            <a:endParaRPr lang="en-AU"/>
          </a:p>
        </p:txBody>
      </p:sp>
    </p:spTree>
    <p:extLst>
      <p:ext uri="{BB962C8B-B14F-4D97-AF65-F5344CB8AC3E}">
        <p14:creationId xmlns:p14="http://schemas.microsoft.com/office/powerpoint/2010/main" val="3301092027"/>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mn-lt"/>
        <a:ea typeface="+mn-ea"/>
        <a:cs typeface="+mn-cs"/>
      </a:defRPr>
    </a:lvl1pPr>
    <a:lvl2pPr marL="609585" algn="l" defTabSz="1219170" rtl="0" eaLnBrk="1" latinLnBrk="0" hangingPunct="1">
      <a:defRPr sz="1600" kern="1200">
        <a:solidFill>
          <a:schemeClr val="tx1"/>
        </a:solidFill>
        <a:latin typeface="+mn-lt"/>
        <a:ea typeface="+mn-ea"/>
        <a:cs typeface="+mn-cs"/>
      </a:defRPr>
    </a:lvl2pPr>
    <a:lvl3pPr marL="1219170" algn="l" defTabSz="1219170" rtl="0" eaLnBrk="1" latinLnBrk="0" hangingPunct="1">
      <a:defRPr sz="1600" kern="1200">
        <a:solidFill>
          <a:schemeClr val="tx1"/>
        </a:solidFill>
        <a:latin typeface="+mn-lt"/>
        <a:ea typeface="+mn-ea"/>
        <a:cs typeface="+mn-cs"/>
      </a:defRPr>
    </a:lvl3pPr>
    <a:lvl4pPr marL="1828754" algn="l" defTabSz="1219170" rtl="0" eaLnBrk="1" latinLnBrk="0" hangingPunct="1">
      <a:defRPr sz="1600" kern="1200">
        <a:solidFill>
          <a:schemeClr val="tx1"/>
        </a:solidFill>
        <a:latin typeface="+mn-lt"/>
        <a:ea typeface="+mn-ea"/>
        <a:cs typeface="+mn-cs"/>
      </a:defRPr>
    </a:lvl4pPr>
    <a:lvl5pPr marL="2438339" algn="l" defTabSz="1219170" rtl="0" eaLnBrk="1" latinLnBrk="0" hangingPunct="1">
      <a:defRPr sz="1600" kern="1200">
        <a:solidFill>
          <a:schemeClr val="tx1"/>
        </a:solidFill>
        <a:latin typeface="+mn-lt"/>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BE4D31D-F1DD-4629-BC69-5D1D53F073FB}" type="slidenum">
              <a:rPr lang="en-AU" smtClean="0"/>
              <a:t>2</a:t>
            </a:fld>
            <a:endParaRPr lang="en-AU"/>
          </a:p>
        </p:txBody>
      </p:sp>
    </p:spTree>
    <p:extLst>
      <p:ext uri="{BB962C8B-B14F-4D97-AF65-F5344CB8AC3E}">
        <p14:creationId xmlns:p14="http://schemas.microsoft.com/office/powerpoint/2010/main" val="28192470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BE4D31D-F1DD-4629-BC69-5D1D53F073FB}" type="slidenum">
              <a:rPr lang="en-AU" smtClean="0"/>
              <a:t>3</a:t>
            </a:fld>
            <a:endParaRPr lang="en-AU"/>
          </a:p>
        </p:txBody>
      </p:sp>
    </p:spTree>
    <p:extLst>
      <p:ext uri="{BB962C8B-B14F-4D97-AF65-F5344CB8AC3E}">
        <p14:creationId xmlns:p14="http://schemas.microsoft.com/office/powerpoint/2010/main" val="28506944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BE4D31D-F1DD-4629-BC69-5D1D53F073FB}" type="slidenum">
              <a:rPr lang="en-AU" smtClean="0"/>
              <a:t>4</a:t>
            </a:fld>
            <a:endParaRPr lang="en-AU"/>
          </a:p>
        </p:txBody>
      </p:sp>
    </p:spTree>
    <p:extLst>
      <p:ext uri="{BB962C8B-B14F-4D97-AF65-F5344CB8AC3E}">
        <p14:creationId xmlns:p14="http://schemas.microsoft.com/office/powerpoint/2010/main" val="6395108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7158C4-A119-4B78-9DE8-A50001BC31DC}" type="slidenum">
              <a:rPr lang="en-AU" smtClean="0"/>
              <a:t>5</a:t>
            </a:fld>
            <a:endParaRPr lang="en-AU"/>
          </a:p>
        </p:txBody>
      </p:sp>
    </p:spTree>
    <p:extLst>
      <p:ext uri="{BB962C8B-B14F-4D97-AF65-F5344CB8AC3E}">
        <p14:creationId xmlns:p14="http://schemas.microsoft.com/office/powerpoint/2010/main" val="1063777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7158C4-A119-4B78-9DE8-A50001BC31DC}" type="slidenum">
              <a:rPr lang="en-AU" smtClean="0"/>
              <a:t>6</a:t>
            </a:fld>
            <a:endParaRPr lang="en-AU"/>
          </a:p>
        </p:txBody>
      </p:sp>
    </p:spTree>
    <p:extLst>
      <p:ext uri="{BB962C8B-B14F-4D97-AF65-F5344CB8AC3E}">
        <p14:creationId xmlns:p14="http://schemas.microsoft.com/office/powerpoint/2010/main" val="21642339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7158C4-A119-4B78-9DE8-A50001BC31DC}" type="slidenum">
              <a:rPr lang="en-AU" smtClean="0"/>
              <a:t>7</a:t>
            </a:fld>
            <a:endParaRPr lang="en-AU"/>
          </a:p>
        </p:txBody>
      </p:sp>
    </p:spTree>
    <p:extLst>
      <p:ext uri="{BB962C8B-B14F-4D97-AF65-F5344CB8AC3E}">
        <p14:creationId xmlns:p14="http://schemas.microsoft.com/office/powerpoint/2010/main" val="19392400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7158C4-A119-4B78-9DE8-A50001BC31DC}" type="slidenum">
              <a:rPr lang="en-AU" smtClean="0"/>
              <a:t>8</a:t>
            </a:fld>
            <a:endParaRPr lang="en-AU"/>
          </a:p>
        </p:txBody>
      </p:sp>
    </p:spTree>
    <p:extLst>
      <p:ext uri="{BB962C8B-B14F-4D97-AF65-F5344CB8AC3E}">
        <p14:creationId xmlns:p14="http://schemas.microsoft.com/office/powerpoint/2010/main" val="40148938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7158C4-A119-4B78-9DE8-A50001BC31DC}" type="slidenum">
              <a:rPr lang="en-AU" smtClean="0"/>
              <a:t>9</a:t>
            </a:fld>
            <a:endParaRPr lang="en-AU"/>
          </a:p>
        </p:txBody>
      </p:sp>
    </p:spTree>
    <p:extLst>
      <p:ext uri="{BB962C8B-B14F-4D97-AF65-F5344CB8AC3E}">
        <p14:creationId xmlns:p14="http://schemas.microsoft.com/office/powerpoint/2010/main" val="4858180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7158C4-A119-4B78-9DE8-A50001BC31DC}" type="slidenum">
              <a:rPr lang="en-AU" smtClean="0"/>
              <a:t>13</a:t>
            </a:fld>
            <a:endParaRPr lang="en-AU"/>
          </a:p>
        </p:txBody>
      </p:sp>
    </p:spTree>
    <p:extLst>
      <p:ext uri="{BB962C8B-B14F-4D97-AF65-F5344CB8AC3E}">
        <p14:creationId xmlns:p14="http://schemas.microsoft.com/office/powerpoint/2010/main" val="11411380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1.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57A2D9F-61E4-43DD-AEE4-7DB03212C80F}"/>
              </a:ext>
            </a:extLst>
          </p:cNvPr>
          <p:cNvSpPr/>
          <p:nvPr userDrawn="1"/>
        </p:nvSpPr>
        <p:spPr>
          <a:xfrm>
            <a:off x="-1" y="0"/>
            <a:ext cx="12192001" cy="392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endParaRPr>
          </a:p>
        </p:txBody>
      </p:sp>
      <p:sp>
        <p:nvSpPr>
          <p:cNvPr id="7" name="Rectangle 6">
            <a:extLst>
              <a:ext uri="{FF2B5EF4-FFF2-40B4-BE49-F238E27FC236}">
                <a16:creationId xmlns:a16="http://schemas.microsoft.com/office/drawing/2014/main" id="{71C1630E-75DD-4988-B412-5BC99B5B5062}"/>
              </a:ext>
            </a:extLst>
          </p:cNvPr>
          <p:cNvSpPr/>
          <p:nvPr userDrawn="1"/>
        </p:nvSpPr>
        <p:spPr>
          <a:xfrm>
            <a:off x="-1" y="3924000"/>
            <a:ext cx="12192001" cy="156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accent3"/>
              </a:solidFill>
            </a:endParaRPr>
          </a:p>
        </p:txBody>
      </p:sp>
      <p:sp>
        <p:nvSpPr>
          <p:cNvPr id="2" name="Title 1"/>
          <p:cNvSpPr>
            <a:spLocks noGrp="1"/>
          </p:cNvSpPr>
          <p:nvPr>
            <p:ph type="ctrTitle"/>
          </p:nvPr>
        </p:nvSpPr>
        <p:spPr>
          <a:xfrm>
            <a:off x="360000" y="360000"/>
            <a:ext cx="10741897" cy="2387600"/>
          </a:xfrm>
          <a:ln>
            <a:noFill/>
          </a:ln>
        </p:spPr>
        <p:txBody>
          <a:bodyPr anchor="t">
            <a:normAutofit/>
          </a:bodyPr>
          <a:lstStyle>
            <a:lvl1pPr algn="l">
              <a:lnSpc>
                <a:spcPct val="90000"/>
              </a:lnSpc>
              <a:defRPr sz="4800">
                <a:solidFill>
                  <a:schemeClr val="bg1"/>
                </a:solidFill>
              </a:defRPr>
            </a:lvl1pPr>
          </a:lstStyle>
          <a:p>
            <a:r>
              <a:rPr lang="en-US"/>
              <a:t>Click to edit Master title style</a:t>
            </a:r>
          </a:p>
        </p:txBody>
      </p:sp>
      <p:sp>
        <p:nvSpPr>
          <p:cNvPr id="11" name="Text Placeholder 10">
            <a:extLst>
              <a:ext uri="{FF2B5EF4-FFF2-40B4-BE49-F238E27FC236}">
                <a16:creationId xmlns:a16="http://schemas.microsoft.com/office/drawing/2014/main" id="{AA33BD13-5953-47AF-A601-951A768FEDA1}"/>
              </a:ext>
            </a:extLst>
          </p:cNvPr>
          <p:cNvSpPr>
            <a:spLocks noGrp="1"/>
          </p:cNvSpPr>
          <p:nvPr>
            <p:ph type="body" sz="quarter" idx="10"/>
          </p:nvPr>
        </p:nvSpPr>
        <p:spPr>
          <a:xfrm>
            <a:off x="360000" y="4284000"/>
            <a:ext cx="2700000" cy="1089583"/>
          </a:xfrm>
        </p:spPr>
        <p:txBody>
          <a:bodyPr>
            <a:noAutofit/>
          </a:bodyPr>
          <a:lstStyle>
            <a:lvl1pPr>
              <a:defRPr sz="2000">
                <a:solidFill>
                  <a:schemeClr val="bg1"/>
                </a:solidFill>
                <a:latin typeface="+mj-lt"/>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Click to edit Master text styles</a:t>
            </a:r>
          </a:p>
        </p:txBody>
      </p:sp>
      <p:sp>
        <p:nvSpPr>
          <p:cNvPr id="15" name="Text Placeholder 14">
            <a:extLst>
              <a:ext uri="{FF2B5EF4-FFF2-40B4-BE49-F238E27FC236}">
                <a16:creationId xmlns:a16="http://schemas.microsoft.com/office/drawing/2014/main" id="{B9280053-307C-4D8A-BF45-7B6743FA55E3}"/>
              </a:ext>
            </a:extLst>
          </p:cNvPr>
          <p:cNvSpPr>
            <a:spLocks noGrp="1"/>
          </p:cNvSpPr>
          <p:nvPr>
            <p:ph type="body" sz="quarter" idx="11" hasCustomPrompt="1"/>
          </p:nvPr>
        </p:nvSpPr>
        <p:spPr>
          <a:xfrm>
            <a:off x="3454400" y="4284000"/>
            <a:ext cx="3600000" cy="1089858"/>
          </a:xfrm>
        </p:spPr>
        <p:txBody>
          <a:bodyPr>
            <a:noAutofit/>
          </a:bodyPr>
          <a:lstStyle>
            <a:lvl1pPr>
              <a:spcAft>
                <a:spcPts val="0"/>
              </a:spcAft>
              <a:defRPr sz="1600" b="0">
                <a:solidFill>
                  <a:schemeClr val="bg1"/>
                </a:solidFill>
                <a:latin typeface="Public Sans SemiBold" pitchFamily="2" charset="0"/>
              </a:defRPr>
            </a:lvl1pPr>
            <a:lvl2pPr>
              <a:spcAft>
                <a:spcPts val="0"/>
              </a:spcAft>
              <a:defRPr sz="1600">
                <a:solidFill>
                  <a:schemeClr val="bg1"/>
                </a:solidFill>
                <a:latin typeface="+mn-lt"/>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Presenter name</a:t>
            </a:r>
          </a:p>
          <a:p>
            <a:pPr lvl="1"/>
            <a:r>
              <a:rPr lang="en-US"/>
              <a:t>Presenter title</a:t>
            </a:r>
          </a:p>
        </p:txBody>
      </p:sp>
      <p:sp>
        <p:nvSpPr>
          <p:cNvPr id="16" name="Text Placeholder 14">
            <a:extLst>
              <a:ext uri="{FF2B5EF4-FFF2-40B4-BE49-F238E27FC236}">
                <a16:creationId xmlns:a16="http://schemas.microsoft.com/office/drawing/2014/main" id="{0B9A9D47-05D2-409D-A941-8374F9F8E2D4}"/>
              </a:ext>
            </a:extLst>
          </p:cNvPr>
          <p:cNvSpPr>
            <a:spLocks noGrp="1"/>
          </p:cNvSpPr>
          <p:nvPr>
            <p:ph type="body" sz="quarter" idx="12"/>
          </p:nvPr>
        </p:nvSpPr>
        <p:spPr>
          <a:xfrm>
            <a:off x="9072000" y="4284000"/>
            <a:ext cx="2700000" cy="1089858"/>
          </a:xfrm>
        </p:spPr>
        <p:txBody>
          <a:bodyPr>
            <a:noAutofit/>
          </a:bodyPr>
          <a:lstStyle>
            <a:lvl1pPr>
              <a:defRPr sz="1600" b="0">
                <a:solidFill>
                  <a:schemeClr val="bg1"/>
                </a:solidFill>
                <a:latin typeface="+mn-lt"/>
              </a:defRPr>
            </a:lvl1pPr>
            <a:lvl2pPr>
              <a:defRPr sz="1600">
                <a:solidFill>
                  <a:schemeClr val="bg1"/>
                </a:solidFill>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Click to edit Master text styles</a:t>
            </a:r>
          </a:p>
        </p:txBody>
      </p:sp>
      <p:cxnSp>
        <p:nvCxnSpPr>
          <p:cNvPr id="18" name="Straight Connector 17">
            <a:extLst>
              <a:ext uri="{FF2B5EF4-FFF2-40B4-BE49-F238E27FC236}">
                <a16:creationId xmlns:a16="http://schemas.microsoft.com/office/drawing/2014/main" id="{89B807B7-CC07-4C79-849F-41D584D6BBC7}"/>
              </a:ext>
            </a:extLst>
          </p:cNvPr>
          <p:cNvCxnSpPr/>
          <p:nvPr userDrawn="1"/>
        </p:nvCxnSpPr>
        <p:spPr>
          <a:xfrm>
            <a:off x="360000" y="4104000"/>
            <a:ext cx="8532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B400A8E-928A-43DB-8723-796D9A555203}"/>
              </a:ext>
            </a:extLst>
          </p:cNvPr>
          <p:cNvCxnSpPr>
            <a:cxnSpLocks/>
          </p:cNvCxnSpPr>
          <p:nvPr userDrawn="1"/>
        </p:nvCxnSpPr>
        <p:spPr>
          <a:xfrm>
            <a:off x="9072000" y="4104000"/>
            <a:ext cx="2700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4" descr="NSW Government logo">
            <a:extLst>
              <a:ext uri="{FF2B5EF4-FFF2-40B4-BE49-F238E27FC236}">
                <a16:creationId xmlns:a16="http://schemas.microsoft.com/office/drawing/2014/main" id="{1275AC60-D9B4-4746-B3F7-C112360E69A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21200" y="5745600"/>
            <a:ext cx="630000" cy="685525"/>
          </a:xfrm>
          <a:prstGeom prst="rect">
            <a:avLst/>
          </a:prstGeom>
        </p:spPr>
      </p:pic>
    </p:spTree>
    <p:extLst>
      <p:ext uri="{BB962C8B-B14F-4D97-AF65-F5344CB8AC3E}">
        <p14:creationId xmlns:p14="http://schemas.microsoft.com/office/powerpoint/2010/main" val="3568565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2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60000" y="1800000"/>
            <a:ext cx="11473200" cy="4351339"/>
          </a:xfrm>
        </p:spPr>
        <p:txBody>
          <a:bodyPr numCol="2" spcCol="180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t>Descriptor</a:t>
            </a:r>
            <a:endParaRPr lang="en-AU"/>
          </a:p>
        </p:txBody>
      </p:sp>
      <p:sp>
        <p:nvSpPr>
          <p:cNvPr id="6" name="Slide Number Placeholder 5"/>
          <p:cNvSpPr>
            <a:spLocks noGrp="1"/>
          </p:cNvSpPr>
          <p:nvPr>
            <p:ph type="sldNum" sz="quarter" idx="12"/>
          </p:nvPr>
        </p:nvSpPr>
        <p:spPr/>
        <p:txBody>
          <a:bodyPr/>
          <a:lstStyle/>
          <a:p>
            <a:fld id="{10A01DC5-1685-4615-8240-15192985C6A2}" type="slidenum">
              <a:rPr lang="en-AU" smtClean="0"/>
              <a:t>‹#›</a:t>
            </a:fld>
            <a:endParaRPr lang="en-AU"/>
          </a:p>
        </p:txBody>
      </p:sp>
      <p:cxnSp>
        <p:nvCxnSpPr>
          <p:cNvPr id="7" name="Straight Connector 6">
            <a:extLst>
              <a:ext uri="{FF2B5EF4-FFF2-40B4-BE49-F238E27FC236}">
                <a16:creationId xmlns:a16="http://schemas.microsoft.com/office/drawing/2014/main" id="{FDEA8E5D-F9A7-48AC-AF91-6754515E9D1B}"/>
              </a:ext>
            </a:extLst>
          </p:cNvPr>
          <p:cNvCxnSpPr/>
          <p:nvPr userDrawn="1"/>
        </p:nvCxnSpPr>
        <p:spPr>
          <a:xfrm>
            <a:off x="360000" y="1548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8ABACDD-EEA1-4D7E-AF09-D231DF0AC4BA}"/>
              </a:ext>
            </a:extLst>
          </p:cNvPr>
          <p:cNvCxnSpPr/>
          <p:nvPr userDrawn="1"/>
        </p:nvCxnSpPr>
        <p:spPr>
          <a:xfrm>
            <a:off x="360000" y="630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37238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Text box and 2 Column Content box">
    <p:spTree>
      <p:nvGrpSpPr>
        <p:cNvPr id="1" name=""/>
        <p:cNvGrpSpPr/>
        <p:nvPr/>
      </p:nvGrpSpPr>
      <p:grpSpPr>
        <a:xfrm>
          <a:off x="0" y="0"/>
          <a:ext cx="0" cy="0"/>
          <a:chOff x="0" y="0"/>
          <a:chExt cx="0" cy="0"/>
        </a:xfrm>
      </p:grpSpPr>
      <p:sp>
        <p:nvSpPr>
          <p:cNvPr id="2" name="Title 1"/>
          <p:cNvSpPr>
            <a:spLocks noGrp="1"/>
          </p:cNvSpPr>
          <p:nvPr>
            <p:ph type="title"/>
          </p:nvPr>
        </p:nvSpPr>
        <p:spPr>
          <a:xfrm>
            <a:off x="360000" y="360000"/>
            <a:ext cx="9720000" cy="1009652"/>
          </a:xfrm>
        </p:spPr>
        <p:txBody>
          <a:bodyPr/>
          <a:lstStyle/>
          <a:p>
            <a:r>
              <a:rPr lang="en-US"/>
              <a:t>Click to edit Master title style</a:t>
            </a:r>
          </a:p>
        </p:txBody>
      </p:sp>
      <p:sp>
        <p:nvSpPr>
          <p:cNvPr id="3" name="Content Placeholder 2"/>
          <p:cNvSpPr>
            <a:spLocks noGrp="1"/>
          </p:cNvSpPr>
          <p:nvPr>
            <p:ph idx="1"/>
          </p:nvPr>
        </p:nvSpPr>
        <p:spPr>
          <a:xfrm>
            <a:off x="5220000" y="2340000"/>
            <a:ext cx="6612000" cy="3960000"/>
          </a:xfrm>
        </p:spPr>
        <p:txBody>
          <a:bodyPr numCol="2" spcCol="180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t>Descriptor</a:t>
            </a:r>
            <a:endParaRPr lang="en-AU"/>
          </a:p>
        </p:txBody>
      </p:sp>
      <p:sp>
        <p:nvSpPr>
          <p:cNvPr id="6" name="Slide Number Placeholder 5"/>
          <p:cNvSpPr>
            <a:spLocks noGrp="1"/>
          </p:cNvSpPr>
          <p:nvPr>
            <p:ph type="sldNum" sz="quarter" idx="12"/>
          </p:nvPr>
        </p:nvSpPr>
        <p:spPr/>
        <p:txBody>
          <a:bodyPr/>
          <a:lstStyle/>
          <a:p>
            <a:fld id="{10A01DC5-1685-4615-8240-15192985C6A2}" type="slidenum">
              <a:rPr lang="en-AU" smtClean="0"/>
              <a:t>‹#›</a:t>
            </a:fld>
            <a:endParaRPr lang="en-AU"/>
          </a:p>
        </p:txBody>
      </p:sp>
      <p:cxnSp>
        <p:nvCxnSpPr>
          <p:cNvPr id="7" name="Straight Connector 6">
            <a:extLst>
              <a:ext uri="{FF2B5EF4-FFF2-40B4-BE49-F238E27FC236}">
                <a16:creationId xmlns:a16="http://schemas.microsoft.com/office/drawing/2014/main" id="{FDEA8E5D-F9A7-48AC-AF91-6754515E9D1B}"/>
              </a:ext>
            </a:extLst>
          </p:cNvPr>
          <p:cNvCxnSpPr/>
          <p:nvPr userDrawn="1"/>
        </p:nvCxnSpPr>
        <p:spPr>
          <a:xfrm>
            <a:off x="360000" y="216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A728366C-8E0F-43D3-99CB-DE12D7F372E5}"/>
              </a:ext>
            </a:extLst>
          </p:cNvPr>
          <p:cNvSpPr>
            <a:spLocks noGrp="1"/>
          </p:cNvSpPr>
          <p:nvPr>
            <p:ph type="body" sz="quarter" idx="13"/>
          </p:nvPr>
        </p:nvSpPr>
        <p:spPr>
          <a:xfrm>
            <a:off x="360000" y="2340000"/>
            <a:ext cx="4680000" cy="39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699944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age, pullout text and caption">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10A01DC5-1685-4615-8240-15192985C6A2}" type="slidenum">
              <a:rPr lang="en-AU" smtClean="0"/>
              <a:t>‹#›</a:t>
            </a:fld>
            <a:endParaRPr lang="en-AU"/>
          </a:p>
        </p:txBody>
      </p:sp>
      <p:cxnSp>
        <p:nvCxnSpPr>
          <p:cNvPr id="7" name="Straight Connector 6">
            <a:extLst>
              <a:ext uri="{FF2B5EF4-FFF2-40B4-BE49-F238E27FC236}">
                <a16:creationId xmlns:a16="http://schemas.microsoft.com/office/drawing/2014/main" id="{FDEA8E5D-F9A7-48AC-AF91-6754515E9D1B}"/>
              </a:ext>
            </a:extLst>
          </p:cNvPr>
          <p:cNvCxnSpPr/>
          <p:nvPr userDrawn="1"/>
        </p:nvCxnSpPr>
        <p:spPr>
          <a:xfrm>
            <a:off x="5220000" y="1800000"/>
            <a:ext cx="0" cy="4536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Picture Placeholder 8">
            <a:extLst>
              <a:ext uri="{FF2B5EF4-FFF2-40B4-BE49-F238E27FC236}">
                <a16:creationId xmlns:a16="http://schemas.microsoft.com/office/drawing/2014/main" id="{516D7771-B92C-4B57-B3D3-8B15F5B9689C}"/>
              </a:ext>
            </a:extLst>
          </p:cNvPr>
          <p:cNvSpPr>
            <a:spLocks noGrp="1"/>
          </p:cNvSpPr>
          <p:nvPr>
            <p:ph type="pic" sz="quarter" idx="13"/>
          </p:nvPr>
        </p:nvSpPr>
        <p:spPr>
          <a:xfrm>
            <a:off x="0" y="0"/>
            <a:ext cx="5040000" cy="6858000"/>
          </a:xfrm>
        </p:spPr>
        <p:txBody>
          <a:bodyPr/>
          <a:lstStyle/>
          <a:p>
            <a:r>
              <a:rPr lang="en-US"/>
              <a:t>Click icon to add picture</a:t>
            </a:r>
            <a:endParaRPr lang="en-AU"/>
          </a:p>
        </p:txBody>
      </p:sp>
      <p:sp>
        <p:nvSpPr>
          <p:cNvPr id="11" name="Text Placeholder 10">
            <a:extLst>
              <a:ext uri="{FF2B5EF4-FFF2-40B4-BE49-F238E27FC236}">
                <a16:creationId xmlns:a16="http://schemas.microsoft.com/office/drawing/2014/main" id="{2FAB4FCE-5DFB-4423-ADC8-E6C79ABBEDD2}"/>
              </a:ext>
            </a:extLst>
          </p:cNvPr>
          <p:cNvSpPr>
            <a:spLocks noGrp="1"/>
          </p:cNvSpPr>
          <p:nvPr>
            <p:ph type="body" sz="quarter" idx="14"/>
          </p:nvPr>
        </p:nvSpPr>
        <p:spPr>
          <a:xfrm>
            <a:off x="5400000" y="1800225"/>
            <a:ext cx="6478588" cy="4185578"/>
          </a:xfrm>
        </p:spPr>
        <p:txBody>
          <a:bodyPr>
            <a:normAutofit/>
          </a:bodyPr>
          <a:lstStyle>
            <a:lvl1pPr>
              <a:defRPr sz="3600">
                <a:solidFill>
                  <a:schemeClr val="tx1"/>
                </a:solidFill>
                <a:latin typeface="+mn-lt"/>
              </a:defRPr>
            </a:lvl1pPr>
            <a:lvl2pPr>
              <a:defRPr sz="1800">
                <a:solidFill>
                  <a:schemeClr val="tx1"/>
                </a:solidFill>
                <a:latin typeface="+mn-lt"/>
              </a:defRPr>
            </a:lvl2pPr>
            <a:lvl3pPr>
              <a:defRPr sz="3600">
                <a:solidFill>
                  <a:schemeClr val="bg2"/>
                </a:solidFill>
                <a:latin typeface="+mn-lt"/>
              </a:defRPr>
            </a:lvl3pPr>
            <a:lvl4pPr>
              <a:defRPr sz="3600">
                <a:solidFill>
                  <a:schemeClr val="bg2"/>
                </a:solidFill>
                <a:latin typeface="+mn-lt"/>
              </a:defRPr>
            </a:lvl4pPr>
            <a:lvl5pPr>
              <a:defRPr sz="3600">
                <a:solidFill>
                  <a:schemeClr val="bg2"/>
                </a:solidFill>
                <a:latin typeface="+mn-lt"/>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518B06DF-F3D5-44F7-AB62-30A2ED1F46C7}"/>
              </a:ext>
            </a:extLst>
          </p:cNvPr>
          <p:cNvSpPr>
            <a:spLocks noGrp="1"/>
          </p:cNvSpPr>
          <p:nvPr>
            <p:ph type="body" sz="quarter" idx="15" hasCustomPrompt="1"/>
          </p:nvPr>
        </p:nvSpPr>
        <p:spPr>
          <a:xfrm>
            <a:off x="5400000" y="5926425"/>
            <a:ext cx="3567113" cy="409575"/>
          </a:xfrm>
        </p:spPr>
        <p:txBody>
          <a:bodyPr anchor="b">
            <a:normAutofit/>
          </a:bodyPr>
          <a:lstStyle>
            <a:lvl1pPr>
              <a:defRPr sz="1200">
                <a:latin typeface="+mn-lt"/>
              </a:defRPr>
            </a:lvl1pPr>
          </a:lstStyle>
          <a:p>
            <a:pPr lvl="0"/>
            <a:r>
              <a:rPr lang="en-US"/>
              <a:t>Image caption</a:t>
            </a:r>
            <a:endParaRPr lang="en-AU"/>
          </a:p>
        </p:txBody>
      </p:sp>
    </p:spTree>
    <p:extLst>
      <p:ext uri="{BB962C8B-B14F-4D97-AF65-F5344CB8AC3E}">
        <p14:creationId xmlns:p14="http://schemas.microsoft.com/office/powerpoint/2010/main" val="8893420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0000" y="1800000"/>
            <a:ext cx="56160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16000" y="1800000"/>
            <a:ext cx="56160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cxnSp>
        <p:nvCxnSpPr>
          <p:cNvPr id="9" name="Straight Connector 8">
            <a:extLst>
              <a:ext uri="{FF2B5EF4-FFF2-40B4-BE49-F238E27FC236}">
                <a16:creationId xmlns:a16="http://schemas.microsoft.com/office/drawing/2014/main" id="{D97CC562-144A-4EC8-A68D-03DE6177D0F2}"/>
              </a:ext>
            </a:extLst>
          </p:cNvPr>
          <p:cNvCxnSpPr/>
          <p:nvPr userDrawn="1"/>
        </p:nvCxnSpPr>
        <p:spPr>
          <a:xfrm>
            <a:off x="360000" y="1548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2A67116-4454-462F-A3FD-DC94D36B8379}"/>
              </a:ext>
            </a:extLst>
          </p:cNvPr>
          <p:cNvCxnSpPr/>
          <p:nvPr userDrawn="1"/>
        </p:nvCxnSpPr>
        <p:spPr>
          <a:xfrm>
            <a:off x="360000" y="630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63793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low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sz="half" idx="1"/>
          </p:nvPr>
        </p:nvSpPr>
        <p:spPr>
          <a:xfrm>
            <a:off x="360000" y="2340000"/>
            <a:ext cx="5616000" cy="3780000"/>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16002" y="2340000"/>
            <a:ext cx="5616000" cy="3780000"/>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lvl1pPr>
              <a:defRPr>
                <a:solidFill>
                  <a:schemeClr val="bg2"/>
                </a:solidFill>
              </a:defRPr>
            </a:lvl1pPr>
          </a:lstStyle>
          <a:p>
            <a:r>
              <a:rPr lang="en-US"/>
              <a:t>Descriptor</a:t>
            </a:r>
            <a:endParaRPr lang="en-AU"/>
          </a:p>
        </p:txBody>
      </p:sp>
      <p:sp>
        <p:nvSpPr>
          <p:cNvPr id="7" name="Slide Number Placeholder 6"/>
          <p:cNvSpPr>
            <a:spLocks noGrp="1"/>
          </p:cNvSpPr>
          <p:nvPr>
            <p:ph type="sldNum" sz="quarter" idx="12"/>
          </p:nvPr>
        </p:nvSpPr>
        <p:spPr/>
        <p:txBody>
          <a:bodyPr/>
          <a:lstStyle>
            <a:lvl1pPr>
              <a:defRPr>
                <a:solidFill>
                  <a:schemeClr val="bg2"/>
                </a:solidFill>
              </a:defRPr>
            </a:lvl1pPr>
          </a:lstStyle>
          <a:p>
            <a:fld id="{10A01DC5-1685-4615-8240-15192985C6A2}" type="slidenum">
              <a:rPr lang="en-AU" smtClean="0"/>
              <a:pPr/>
              <a:t>‹#›</a:t>
            </a:fld>
            <a:endParaRPr lang="en-AU"/>
          </a:p>
        </p:txBody>
      </p:sp>
      <p:cxnSp>
        <p:nvCxnSpPr>
          <p:cNvPr id="9" name="Straight Connector 8">
            <a:extLst>
              <a:ext uri="{FF2B5EF4-FFF2-40B4-BE49-F238E27FC236}">
                <a16:creationId xmlns:a16="http://schemas.microsoft.com/office/drawing/2014/main" id="{D97CC562-144A-4EC8-A68D-03DE6177D0F2}"/>
              </a:ext>
            </a:extLst>
          </p:cNvPr>
          <p:cNvCxnSpPr/>
          <p:nvPr userDrawn="1"/>
        </p:nvCxnSpPr>
        <p:spPr>
          <a:xfrm>
            <a:off x="360000" y="216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2A67116-4454-462F-A3FD-DC94D36B8379}"/>
              </a:ext>
            </a:extLst>
          </p:cNvPr>
          <p:cNvCxnSpPr/>
          <p:nvPr userDrawn="1"/>
        </p:nvCxnSpPr>
        <p:spPr>
          <a:xfrm>
            <a:off x="360000" y="630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62768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ubheading, two column text and imag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2BBD760-6DEA-4064-8474-A197EF7B44AA}"/>
              </a:ext>
            </a:extLst>
          </p:cNvPr>
          <p:cNvSpPr/>
          <p:nvPr userDrawn="1"/>
        </p:nvSpPr>
        <p:spPr>
          <a:xfrm>
            <a:off x="0" y="0"/>
            <a:ext cx="12192000" cy="6858000"/>
          </a:xfrm>
          <a:prstGeom prst="rect">
            <a:avLst/>
          </a:prstGeom>
          <a:solidFill>
            <a:srgbClr val="F3E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half" idx="2"/>
          </p:nvPr>
        </p:nvSpPr>
        <p:spPr>
          <a:xfrm>
            <a:off x="8136000" y="1748331"/>
            <a:ext cx="36720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cxnSp>
        <p:nvCxnSpPr>
          <p:cNvPr id="9" name="Straight Connector 8">
            <a:extLst>
              <a:ext uri="{FF2B5EF4-FFF2-40B4-BE49-F238E27FC236}">
                <a16:creationId xmlns:a16="http://schemas.microsoft.com/office/drawing/2014/main" id="{D97CC562-144A-4EC8-A68D-03DE6177D0F2}"/>
              </a:ext>
            </a:extLst>
          </p:cNvPr>
          <p:cNvCxnSpPr/>
          <p:nvPr userDrawn="1"/>
        </p:nvCxnSpPr>
        <p:spPr>
          <a:xfrm>
            <a:off x="360000" y="1548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2A67116-4454-462F-A3FD-DC94D36B8379}"/>
              </a:ext>
            </a:extLst>
          </p:cNvPr>
          <p:cNvCxnSpPr/>
          <p:nvPr userDrawn="1"/>
        </p:nvCxnSpPr>
        <p:spPr>
          <a:xfrm>
            <a:off x="360000" y="630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FBCA03EB-CF3D-4096-8D64-2420CB9A078B}"/>
              </a:ext>
            </a:extLst>
          </p:cNvPr>
          <p:cNvSpPr>
            <a:spLocks noGrp="1"/>
          </p:cNvSpPr>
          <p:nvPr>
            <p:ph type="body" sz="quarter" idx="13"/>
          </p:nvPr>
        </p:nvSpPr>
        <p:spPr>
          <a:xfrm>
            <a:off x="360363" y="2772000"/>
            <a:ext cx="7560000" cy="3314895"/>
          </a:xfrm>
        </p:spPr>
        <p:txBody>
          <a:bodyPr numCol="2" spcCol="180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3" name="Text Placeholder 12">
            <a:extLst>
              <a:ext uri="{FF2B5EF4-FFF2-40B4-BE49-F238E27FC236}">
                <a16:creationId xmlns:a16="http://schemas.microsoft.com/office/drawing/2014/main" id="{4652EAB0-9BF3-42B8-9260-854C74B7761C}"/>
              </a:ext>
            </a:extLst>
          </p:cNvPr>
          <p:cNvSpPr>
            <a:spLocks noGrp="1"/>
          </p:cNvSpPr>
          <p:nvPr>
            <p:ph type="body" sz="quarter" idx="14" hasCustomPrompt="1"/>
          </p:nvPr>
        </p:nvSpPr>
        <p:spPr>
          <a:xfrm>
            <a:off x="360363" y="1749600"/>
            <a:ext cx="7560000" cy="900000"/>
          </a:xfrm>
        </p:spPr>
        <p:txBody>
          <a:bodyPr/>
          <a:lstStyle>
            <a:lvl1pPr>
              <a:defRPr/>
            </a:lvl1pPr>
          </a:lstStyle>
          <a:p>
            <a:pPr lvl="0"/>
            <a:r>
              <a:rPr lang="en-US"/>
              <a:t>Subheading</a:t>
            </a:r>
            <a:endParaRPr lang="en-AU"/>
          </a:p>
        </p:txBody>
      </p:sp>
      <p:pic>
        <p:nvPicPr>
          <p:cNvPr id="12" name="Picture 11">
            <a:extLst>
              <a:ext uri="{FF2B5EF4-FFF2-40B4-BE49-F238E27FC236}">
                <a16:creationId xmlns:a16="http://schemas.microsoft.com/office/drawing/2014/main" id="{2F79FF34-E700-48B3-9129-EB64DD6F10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21200" y="360000"/>
            <a:ext cx="630000" cy="685525"/>
          </a:xfrm>
          <a:prstGeom prst="rect">
            <a:avLst/>
          </a:prstGeom>
        </p:spPr>
      </p:pic>
    </p:spTree>
    <p:extLst>
      <p:ext uri="{BB962C8B-B14F-4D97-AF65-F5344CB8AC3E}">
        <p14:creationId xmlns:p14="http://schemas.microsoft.com/office/powerpoint/2010/main" val="23942643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ubheading box with three column text box and image box">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2BBD760-6DEA-4064-8474-A197EF7B44AA}"/>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2"/>
              </a:solidFill>
            </a:endParaRPr>
          </a:p>
        </p:txBody>
      </p:sp>
      <p:sp>
        <p:nvSpPr>
          <p:cNvPr id="2" name="Title 1"/>
          <p:cNvSpPr>
            <a:spLocks noGrp="1"/>
          </p:cNvSpPr>
          <p:nvPr>
            <p:ph type="title"/>
          </p:nvPr>
        </p:nvSpPr>
        <p:spPr/>
        <p:txBody>
          <a:bodyPr/>
          <a:lstStyle>
            <a:lvl1pPr>
              <a:defRPr>
                <a:solidFill>
                  <a:schemeClr val="bg2"/>
                </a:solidFill>
              </a:defRPr>
            </a:lvl1pPr>
          </a:lstStyle>
          <a:p>
            <a:r>
              <a:rPr lang="en-US"/>
              <a:t>Click to edit Master title style</a:t>
            </a:r>
          </a:p>
        </p:txBody>
      </p:sp>
      <p:sp>
        <p:nvSpPr>
          <p:cNvPr id="6" name="Footer Placeholder 5"/>
          <p:cNvSpPr>
            <a:spLocks noGrp="1"/>
          </p:cNvSpPr>
          <p:nvPr>
            <p:ph type="ftr" sz="quarter" idx="11"/>
          </p:nvPr>
        </p:nvSpPr>
        <p:spPr>
          <a:xfrm>
            <a:off x="360000" y="6444000"/>
            <a:ext cx="6720000" cy="252000"/>
          </a:xfrm>
        </p:spPr>
        <p:txBody>
          <a:bodyPr/>
          <a:lstStyle>
            <a:lvl1pPr>
              <a:defRPr>
                <a:solidFill>
                  <a:schemeClr val="bg2"/>
                </a:solidFill>
              </a:defRPr>
            </a:lvl1pPr>
          </a:lstStyle>
          <a:p>
            <a:r>
              <a:rPr lang="en-US"/>
              <a:t>Descriptor</a:t>
            </a:r>
            <a:endParaRPr lang="en-AU"/>
          </a:p>
        </p:txBody>
      </p:sp>
      <p:sp>
        <p:nvSpPr>
          <p:cNvPr id="7" name="Slide Number Placeholder 6"/>
          <p:cNvSpPr>
            <a:spLocks noGrp="1"/>
          </p:cNvSpPr>
          <p:nvPr>
            <p:ph type="sldNum" sz="quarter" idx="12"/>
          </p:nvPr>
        </p:nvSpPr>
        <p:spPr>
          <a:xfrm>
            <a:off x="11317458" y="6516000"/>
            <a:ext cx="490542" cy="180000"/>
          </a:xfrm>
        </p:spPr>
        <p:txBody>
          <a:bodyPr/>
          <a:lstStyle>
            <a:lvl1pPr>
              <a:defRPr>
                <a:solidFill>
                  <a:schemeClr val="bg2"/>
                </a:solidFill>
              </a:defRPr>
            </a:lvl1pPr>
          </a:lstStyle>
          <a:p>
            <a:fld id="{10A01DC5-1685-4615-8240-15192985C6A2}" type="slidenum">
              <a:rPr lang="en-AU" smtClean="0"/>
              <a:pPr/>
              <a:t>‹#›</a:t>
            </a:fld>
            <a:endParaRPr lang="en-AU"/>
          </a:p>
        </p:txBody>
      </p:sp>
      <p:cxnSp>
        <p:nvCxnSpPr>
          <p:cNvPr id="9" name="Straight Connector 8">
            <a:extLst>
              <a:ext uri="{FF2B5EF4-FFF2-40B4-BE49-F238E27FC236}">
                <a16:creationId xmlns:a16="http://schemas.microsoft.com/office/drawing/2014/main" id="{D97CC562-144A-4EC8-A68D-03DE6177D0F2}"/>
              </a:ext>
            </a:extLst>
          </p:cNvPr>
          <p:cNvCxnSpPr/>
          <p:nvPr userDrawn="1"/>
        </p:nvCxnSpPr>
        <p:spPr>
          <a:xfrm>
            <a:off x="360000" y="2160000"/>
            <a:ext cx="114732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FBCA03EB-CF3D-4096-8D64-2420CB9A078B}"/>
              </a:ext>
            </a:extLst>
          </p:cNvPr>
          <p:cNvSpPr>
            <a:spLocks noGrp="1"/>
          </p:cNvSpPr>
          <p:nvPr>
            <p:ph type="body" sz="quarter" idx="13"/>
          </p:nvPr>
        </p:nvSpPr>
        <p:spPr>
          <a:xfrm>
            <a:off x="360363" y="3600001"/>
            <a:ext cx="8532000" cy="2499670"/>
          </a:xfrm>
        </p:spPr>
        <p:txBody>
          <a:bodyPr numCol="3" spcCol="180000"/>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3" name="Text Placeholder 12">
            <a:extLst>
              <a:ext uri="{FF2B5EF4-FFF2-40B4-BE49-F238E27FC236}">
                <a16:creationId xmlns:a16="http://schemas.microsoft.com/office/drawing/2014/main" id="{4652EAB0-9BF3-42B8-9260-854C74B7761C}"/>
              </a:ext>
            </a:extLst>
          </p:cNvPr>
          <p:cNvSpPr>
            <a:spLocks noGrp="1"/>
          </p:cNvSpPr>
          <p:nvPr>
            <p:ph type="body" sz="quarter" idx="14" hasCustomPrompt="1"/>
          </p:nvPr>
        </p:nvSpPr>
        <p:spPr>
          <a:xfrm>
            <a:off x="360363" y="2340000"/>
            <a:ext cx="8532000" cy="1116002"/>
          </a:xfrm>
        </p:spPr>
        <p:txBody>
          <a:bodyPr/>
          <a:lstStyle>
            <a:lvl1pPr>
              <a:defRPr>
                <a:solidFill>
                  <a:schemeClr val="bg2"/>
                </a:solidFill>
              </a:defRPr>
            </a:lvl1pPr>
          </a:lstStyle>
          <a:p>
            <a:pPr lvl="0"/>
            <a:r>
              <a:rPr lang="en-US"/>
              <a:t>Subheading</a:t>
            </a:r>
            <a:endParaRPr lang="en-AU"/>
          </a:p>
        </p:txBody>
      </p:sp>
      <p:sp>
        <p:nvSpPr>
          <p:cNvPr id="5" name="Picture Placeholder 4">
            <a:extLst>
              <a:ext uri="{FF2B5EF4-FFF2-40B4-BE49-F238E27FC236}">
                <a16:creationId xmlns:a16="http://schemas.microsoft.com/office/drawing/2014/main" id="{9815A714-98D5-4052-AB2F-14DD929CCC25}"/>
              </a:ext>
            </a:extLst>
          </p:cNvPr>
          <p:cNvSpPr>
            <a:spLocks noGrp="1"/>
          </p:cNvSpPr>
          <p:nvPr>
            <p:ph type="pic" sz="quarter" idx="15"/>
          </p:nvPr>
        </p:nvSpPr>
        <p:spPr>
          <a:xfrm>
            <a:off x="9072000" y="2340000"/>
            <a:ext cx="2736000" cy="3960000"/>
          </a:xfrm>
        </p:spPr>
        <p:txBody>
          <a:bodyPr/>
          <a:lstStyle>
            <a:lvl1pPr>
              <a:defRPr>
                <a:solidFill>
                  <a:schemeClr val="bg2"/>
                </a:solidFill>
              </a:defRPr>
            </a:lvl1pPr>
          </a:lstStyle>
          <a:p>
            <a:r>
              <a:rPr lang="en-US"/>
              <a:t>Click icon to add picture</a:t>
            </a:r>
            <a:endParaRPr lang="en-AU"/>
          </a:p>
        </p:txBody>
      </p:sp>
      <p:pic>
        <p:nvPicPr>
          <p:cNvPr id="12" name="Picture 11">
            <a:extLst>
              <a:ext uri="{FF2B5EF4-FFF2-40B4-BE49-F238E27FC236}">
                <a16:creationId xmlns:a16="http://schemas.microsoft.com/office/drawing/2014/main" id="{B1FB6CEC-BF4E-4B7E-BF6A-CACDC5381E2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21200" y="360000"/>
            <a:ext cx="630000" cy="685525"/>
          </a:xfrm>
          <a:prstGeom prst="rect">
            <a:avLst/>
          </a:prstGeom>
        </p:spPr>
      </p:pic>
    </p:spTree>
    <p:extLst>
      <p:ext uri="{BB962C8B-B14F-4D97-AF65-F5344CB8AC3E}">
        <p14:creationId xmlns:p14="http://schemas.microsoft.com/office/powerpoint/2010/main" val="28878998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with caption at right over text box">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000"/>
            </a:lvl1pPr>
          </a:lstStyle>
          <a:p>
            <a:r>
              <a:rPr lang="en-US"/>
              <a:t>Click to edit Master title style</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cxnSp>
        <p:nvCxnSpPr>
          <p:cNvPr id="9" name="Straight Connector 8">
            <a:extLst>
              <a:ext uri="{FF2B5EF4-FFF2-40B4-BE49-F238E27FC236}">
                <a16:creationId xmlns:a16="http://schemas.microsoft.com/office/drawing/2014/main" id="{D97CC562-144A-4EC8-A68D-03DE6177D0F2}"/>
              </a:ext>
            </a:extLst>
          </p:cNvPr>
          <p:cNvCxnSpPr>
            <a:cxnSpLocks/>
          </p:cNvCxnSpPr>
          <p:nvPr userDrawn="1"/>
        </p:nvCxnSpPr>
        <p:spPr>
          <a:xfrm>
            <a:off x="6192000" y="1576800"/>
            <a:ext cx="565879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FBCA03EB-CF3D-4096-8D64-2420CB9A078B}"/>
              </a:ext>
            </a:extLst>
          </p:cNvPr>
          <p:cNvSpPr>
            <a:spLocks noGrp="1"/>
          </p:cNvSpPr>
          <p:nvPr>
            <p:ph type="body" sz="quarter" idx="13"/>
          </p:nvPr>
        </p:nvSpPr>
        <p:spPr>
          <a:xfrm>
            <a:off x="6192000" y="2772000"/>
            <a:ext cx="5639998" cy="3314895"/>
          </a:xfrm>
        </p:spPr>
        <p:txBody>
          <a:bodyPr numCol="2" spcCol="180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3" name="Text Placeholder 12">
            <a:extLst>
              <a:ext uri="{FF2B5EF4-FFF2-40B4-BE49-F238E27FC236}">
                <a16:creationId xmlns:a16="http://schemas.microsoft.com/office/drawing/2014/main" id="{4652EAB0-9BF3-42B8-9260-854C74B7761C}"/>
              </a:ext>
            </a:extLst>
          </p:cNvPr>
          <p:cNvSpPr>
            <a:spLocks noGrp="1"/>
          </p:cNvSpPr>
          <p:nvPr>
            <p:ph type="body" sz="quarter" idx="14" hasCustomPrompt="1"/>
          </p:nvPr>
        </p:nvSpPr>
        <p:spPr>
          <a:xfrm>
            <a:off x="9087729" y="1749600"/>
            <a:ext cx="2744268" cy="900000"/>
          </a:xfrm>
        </p:spPr>
        <p:txBody>
          <a:bodyPr>
            <a:normAutofit/>
          </a:bodyPr>
          <a:lstStyle>
            <a:lvl1pPr>
              <a:defRPr sz="1000">
                <a:latin typeface="+mn-lt"/>
              </a:defRPr>
            </a:lvl1pPr>
          </a:lstStyle>
          <a:p>
            <a:pPr lvl="0"/>
            <a:r>
              <a:rPr lang="en-US"/>
              <a:t>Caption</a:t>
            </a:r>
            <a:endParaRPr lang="en-AU"/>
          </a:p>
        </p:txBody>
      </p:sp>
      <p:cxnSp>
        <p:nvCxnSpPr>
          <p:cNvPr id="15" name="Straight Connector 14">
            <a:extLst>
              <a:ext uri="{FF2B5EF4-FFF2-40B4-BE49-F238E27FC236}">
                <a16:creationId xmlns:a16="http://schemas.microsoft.com/office/drawing/2014/main" id="{D55E9072-3A33-4C6D-A549-4A012107B65C}"/>
              </a:ext>
            </a:extLst>
          </p:cNvPr>
          <p:cNvCxnSpPr>
            <a:cxnSpLocks/>
          </p:cNvCxnSpPr>
          <p:nvPr userDrawn="1"/>
        </p:nvCxnSpPr>
        <p:spPr>
          <a:xfrm>
            <a:off x="6192000" y="6289476"/>
            <a:ext cx="5658798"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Picture Placeholder 4">
            <a:extLst>
              <a:ext uri="{FF2B5EF4-FFF2-40B4-BE49-F238E27FC236}">
                <a16:creationId xmlns:a16="http://schemas.microsoft.com/office/drawing/2014/main" id="{0AA01239-4425-4D06-9E14-E14F3426FB3F}"/>
              </a:ext>
            </a:extLst>
          </p:cNvPr>
          <p:cNvSpPr>
            <a:spLocks noGrp="1"/>
          </p:cNvSpPr>
          <p:nvPr>
            <p:ph type="pic" sz="quarter" idx="15"/>
          </p:nvPr>
        </p:nvSpPr>
        <p:spPr>
          <a:xfrm>
            <a:off x="0" y="1576800"/>
            <a:ext cx="5976000" cy="4716000"/>
          </a:xfrm>
        </p:spPr>
        <p:txBody>
          <a:bodyPr/>
          <a:lstStyle/>
          <a:p>
            <a:r>
              <a:rPr lang="en-US"/>
              <a:t>Click icon to add picture</a:t>
            </a:r>
            <a:endParaRPr lang="en-AU"/>
          </a:p>
        </p:txBody>
      </p:sp>
    </p:spTree>
    <p:extLst>
      <p:ext uri="{BB962C8B-B14F-4D97-AF65-F5344CB8AC3E}">
        <p14:creationId xmlns:p14="http://schemas.microsoft.com/office/powerpoint/2010/main" val="42250978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arge quote">
    <p:spTree>
      <p:nvGrpSpPr>
        <p:cNvPr id="1" name=""/>
        <p:cNvGrpSpPr/>
        <p:nvPr/>
      </p:nvGrpSpPr>
      <p:grpSpPr>
        <a:xfrm>
          <a:off x="0" y="0"/>
          <a:ext cx="0" cy="0"/>
          <a:chOff x="0" y="0"/>
          <a:chExt cx="0" cy="0"/>
        </a:xfrm>
      </p:grpSpPr>
      <p:sp>
        <p:nvSpPr>
          <p:cNvPr id="2" name="Title 1"/>
          <p:cNvSpPr>
            <a:spLocks noGrp="1"/>
          </p:cNvSpPr>
          <p:nvPr>
            <p:ph type="title"/>
          </p:nvPr>
        </p:nvSpPr>
        <p:spPr>
          <a:xfrm>
            <a:off x="360000" y="360000"/>
            <a:ext cx="2520000" cy="1009652"/>
          </a:xfrm>
        </p:spPr>
        <p:txBody>
          <a:bodyPr>
            <a:normAutofit/>
          </a:bodyPr>
          <a:lstStyle>
            <a:lvl1pPr>
              <a:defRPr sz="1600">
                <a:latin typeface="Public Sans SemiBold" pitchFamily="2" charset="0"/>
              </a:defRPr>
            </a:lvl1pPr>
          </a:lstStyle>
          <a:p>
            <a:r>
              <a:rPr lang="en-US"/>
              <a:t>Click to edit Master title style</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sp>
        <p:nvSpPr>
          <p:cNvPr id="11" name="Text Placeholder 10">
            <a:extLst>
              <a:ext uri="{FF2B5EF4-FFF2-40B4-BE49-F238E27FC236}">
                <a16:creationId xmlns:a16="http://schemas.microsoft.com/office/drawing/2014/main" id="{FBCA03EB-CF3D-4096-8D64-2420CB9A078B}"/>
              </a:ext>
            </a:extLst>
          </p:cNvPr>
          <p:cNvSpPr>
            <a:spLocks noGrp="1"/>
          </p:cNvSpPr>
          <p:nvPr>
            <p:ph type="body" sz="quarter" idx="13"/>
          </p:nvPr>
        </p:nvSpPr>
        <p:spPr>
          <a:xfrm>
            <a:off x="3312002" y="360000"/>
            <a:ext cx="7560000" cy="5726895"/>
          </a:xfrm>
        </p:spPr>
        <p:txBody>
          <a:bodyPr numCol="1" spcCol="180000"/>
          <a:lstStyle>
            <a:lvl1pPr>
              <a:defRPr sz="3600"/>
            </a:lvl1pPr>
            <a:lvl2pPr>
              <a:defRPr sz="1800">
                <a:latin typeface="+mn-lt"/>
              </a:defRPr>
            </a:lvl2pPr>
          </a:lstStyle>
          <a:p>
            <a:pPr lvl="0"/>
            <a:r>
              <a:rPr lang="en-US"/>
              <a:t>Click to edit Master text styles</a:t>
            </a:r>
          </a:p>
          <a:p>
            <a:pPr lvl="1"/>
            <a:r>
              <a:rPr lang="en-US"/>
              <a:t>Second level</a:t>
            </a:r>
          </a:p>
        </p:txBody>
      </p:sp>
      <p:cxnSp>
        <p:nvCxnSpPr>
          <p:cNvPr id="12" name="Straight Connector 11">
            <a:extLst>
              <a:ext uri="{FF2B5EF4-FFF2-40B4-BE49-F238E27FC236}">
                <a16:creationId xmlns:a16="http://schemas.microsoft.com/office/drawing/2014/main" id="{80B8F80F-22E3-47D7-8D99-80BFFDFB35CD}"/>
              </a:ext>
            </a:extLst>
          </p:cNvPr>
          <p:cNvCxnSpPr>
            <a:cxnSpLocks/>
          </p:cNvCxnSpPr>
          <p:nvPr userDrawn="1"/>
        </p:nvCxnSpPr>
        <p:spPr>
          <a:xfrm>
            <a:off x="3096000" y="360000"/>
            <a:ext cx="0" cy="5976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87384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lumn text above graphic">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165CECD-C00D-4560-9C97-AE28A8535867}"/>
              </a:ext>
            </a:extLst>
          </p:cNvPr>
          <p:cNvSpPr/>
          <p:nvPr userDrawn="1"/>
        </p:nvSpPr>
        <p:spPr>
          <a:xfrm>
            <a:off x="0" y="1602000"/>
            <a:ext cx="12192000" cy="525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p:cNvSpPr>
            <a:spLocks noGrp="1"/>
          </p:cNvSpPr>
          <p:nvPr>
            <p:ph type="title"/>
          </p:nvPr>
        </p:nvSpPr>
        <p:spPr>
          <a:xfrm>
            <a:off x="359999" y="360000"/>
            <a:ext cx="7560000" cy="1009652"/>
          </a:xfrm>
        </p:spPr>
        <p:txBody>
          <a:bodyPr numCol="2" spcCol="180000">
            <a:normAutofit/>
          </a:bodyPr>
          <a:lstStyle>
            <a:lvl1pPr>
              <a:defRPr sz="1800">
                <a:latin typeface="+mj-lt"/>
              </a:defRPr>
            </a:lvl1pPr>
          </a:lstStyle>
          <a:p>
            <a:r>
              <a:rPr lang="en-US"/>
              <a:t>Click to edit Master title style</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cxnSp>
        <p:nvCxnSpPr>
          <p:cNvPr id="9" name="Straight Connector 8">
            <a:extLst>
              <a:ext uri="{FF2B5EF4-FFF2-40B4-BE49-F238E27FC236}">
                <a16:creationId xmlns:a16="http://schemas.microsoft.com/office/drawing/2014/main" id="{9F21707E-ED45-4C2A-9328-C747C8E2B09F}"/>
              </a:ext>
            </a:extLst>
          </p:cNvPr>
          <p:cNvCxnSpPr/>
          <p:nvPr userDrawn="1"/>
        </p:nvCxnSpPr>
        <p:spPr>
          <a:xfrm>
            <a:off x="360000" y="6300000"/>
            <a:ext cx="11473200"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Picture Placeholder 4">
            <a:extLst>
              <a:ext uri="{FF2B5EF4-FFF2-40B4-BE49-F238E27FC236}">
                <a16:creationId xmlns:a16="http://schemas.microsoft.com/office/drawing/2014/main" id="{8AB6FE45-2247-43AE-AFB0-3C1EC574D8FA}"/>
              </a:ext>
            </a:extLst>
          </p:cNvPr>
          <p:cNvSpPr>
            <a:spLocks noGrp="1"/>
          </p:cNvSpPr>
          <p:nvPr>
            <p:ph type="pic" sz="quarter" idx="13"/>
          </p:nvPr>
        </p:nvSpPr>
        <p:spPr>
          <a:xfrm>
            <a:off x="1857000" y="1611825"/>
            <a:ext cx="8478000" cy="4688175"/>
          </a:xfrm>
        </p:spPr>
        <p:txBody>
          <a:bodyPr/>
          <a:lstStyle/>
          <a:p>
            <a:r>
              <a:rPr lang="en-US"/>
              <a:t>Click icon to add picture</a:t>
            </a:r>
            <a:endParaRPr lang="en-AU"/>
          </a:p>
        </p:txBody>
      </p:sp>
    </p:spTree>
    <p:extLst>
      <p:ext uri="{BB962C8B-B14F-4D97-AF65-F5344CB8AC3E}">
        <p14:creationId xmlns:p14="http://schemas.microsoft.com/office/powerpoint/2010/main" val="184884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2">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47081598-8EF9-4067-828C-DA3306F39365}"/>
              </a:ext>
            </a:extLst>
          </p:cNvPr>
          <p:cNvSpPr>
            <a:spLocks noGrp="1"/>
          </p:cNvSpPr>
          <p:nvPr>
            <p:ph type="pic" sz="quarter" idx="13"/>
          </p:nvPr>
        </p:nvSpPr>
        <p:spPr>
          <a:xfrm>
            <a:off x="-1" y="0"/>
            <a:ext cx="3060000" cy="6858000"/>
          </a:xfrm>
        </p:spPr>
        <p:txBody>
          <a:bodyPr/>
          <a:lstStyle/>
          <a:p>
            <a:r>
              <a:rPr lang="en-US"/>
              <a:t>Click icon to add picture</a:t>
            </a:r>
            <a:endParaRPr lang="en-AU"/>
          </a:p>
        </p:txBody>
      </p:sp>
      <p:sp>
        <p:nvSpPr>
          <p:cNvPr id="4" name="Rectangle 3">
            <a:extLst>
              <a:ext uri="{FF2B5EF4-FFF2-40B4-BE49-F238E27FC236}">
                <a16:creationId xmlns:a16="http://schemas.microsoft.com/office/drawing/2014/main" id="{E57A2D9F-61E4-43DD-AEE4-7DB03212C80F}"/>
              </a:ext>
            </a:extLst>
          </p:cNvPr>
          <p:cNvSpPr/>
          <p:nvPr userDrawn="1"/>
        </p:nvSpPr>
        <p:spPr>
          <a:xfrm>
            <a:off x="3060000" y="0"/>
            <a:ext cx="777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latin typeface="Public Sans SemiBold" pitchFamily="2" charset="0"/>
            </a:endParaRPr>
          </a:p>
        </p:txBody>
      </p:sp>
      <p:sp>
        <p:nvSpPr>
          <p:cNvPr id="2" name="Title 1"/>
          <p:cNvSpPr>
            <a:spLocks noGrp="1"/>
          </p:cNvSpPr>
          <p:nvPr>
            <p:ph type="ctrTitle" hasCustomPrompt="1"/>
          </p:nvPr>
        </p:nvSpPr>
        <p:spPr>
          <a:xfrm>
            <a:off x="3599998" y="359999"/>
            <a:ext cx="6964836" cy="2917763"/>
          </a:xfrm>
          <a:ln>
            <a:noFill/>
          </a:ln>
        </p:spPr>
        <p:txBody>
          <a:bodyPr anchor="t">
            <a:normAutofit/>
          </a:bodyPr>
          <a:lstStyle>
            <a:lvl1pPr algn="l">
              <a:lnSpc>
                <a:spcPct val="90000"/>
              </a:lnSpc>
              <a:defRPr sz="4800">
                <a:solidFill>
                  <a:schemeClr val="bg1"/>
                </a:solidFill>
              </a:defRPr>
            </a:lvl1pPr>
          </a:lstStyle>
          <a:p>
            <a:r>
              <a:rPr lang="en-US"/>
              <a:t>Presentation title</a:t>
            </a:r>
          </a:p>
        </p:txBody>
      </p:sp>
      <p:sp>
        <p:nvSpPr>
          <p:cNvPr id="11" name="Text Placeholder 10">
            <a:extLst>
              <a:ext uri="{FF2B5EF4-FFF2-40B4-BE49-F238E27FC236}">
                <a16:creationId xmlns:a16="http://schemas.microsoft.com/office/drawing/2014/main" id="{AA33BD13-5953-47AF-A601-951A768FEDA1}"/>
              </a:ext>
            </a:extLst>
          </p:cNvPr>
          <p:cNvSpPr>
            <a:spLocks noGrp="1"/>
          </p:cNvSpPr>
          <p:nvPr>
            <p:ph type="body" sz="quarter" idx="10" hasCustomPrompt="1"/>
          </p:nvPr>
        </p:nvSpPr>
        <p:spPr>
          <a:xfrm>
            <a:off x="3599999" y="4403188"/>
            <a:ext cx="5135997" cy="1176813"/>
          </a:xfrm>
        </p:spPr>
        <p:txBody>
          <a:bodyPr anchor="b">
            <a:noAutofit/>
          </a:bodyPr>
          <a:lstStyle>
            <a:lvl1pPr>
              <a:defRPr sz="2000">
                <a:solidFill>
                  <a:schemeClr val="bg1"/>
                </a:solidFill>
                <a:latin typeface="+mj-lt"/>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Subtitle</a:t>
            </a:r>
          </a:p>
        </p:txBody>
      </p:sp>
      <p:sp>
        <p:nvSpPr>
          <p:cNvPr id="15" name="Text Placeholder 14">
            <a:extLst>
              <a:ext uri="{FF2B5EF4-FFF2-40B4-BE49-F238E27FC236}">
                <a16:creationId xmlns:a16="http://schemas.microsoft.com/office/drawing/2014/main" id="{B9280053-307C-4D8A-BF45-7B6743FA55E3}"/>
              </a:ext>
            </a:extLst>
          </p:cNvPr>
          <p:cNvSpPr>
            <a:spLocks noGrp="1"/>
          </p:cNvSpPr>
          <p:nvPr>
            <p:ph type="body" sz="quarter" idx="11" hasCustomPrompt="1"/>
          </p:nvPr>
        </p:nvSpPr>
        <p:spPr>
          <a:xfrm>
            <a:off x="3600000" y="5940000"/>
            <a:ext cx="3600000" cy="558001"/>
          </a:xfrm>
        </p:spPr>
        <p:txBody>
          <a:bodyPr>
            <a:noAutofit/>
          </a:bodyPr>
          <a:lstStyle>
            <a:lvl1pPr>
              <a:lnSpc>
                <a:spcPct val="100000"/>
              </a:lnSpc>
              <a:spcAft>
                <a:spcPts val="0"/>
              </a:spcAft>
              <a:defRPr sz="1600" b="0">
                <a:solidFill>
                  <a:schemeClr val="bg1"/>
                </a:solidFill>
                <a:latin typeface="Public Sans SemiBold" pitchFamily="2" charset="0"/>
              </a:defRPr>
            </a:lvl1pPr>
            <a:lvl2pPr>
              <a:lnSpc>
                <a:spcPct val="100000"/>
              </a:lnSpc>
              <a:spcAft>
                <a:spcPts val="0"/>
              </a:spcAft>
              <a:defRPr sz="1600">
                <a:solidFill>
                  <a:schemeClr val="bg1"/>
                </a:solidFill>
                <a:latin typeface="+mn-lt"/>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Presenter name</a:t>
            </a:r>
          </a:p>
          <a:p>
            <a:pPr lvl="1"/>
            <a:r>
              <a:rPr lang="en-US"/>
              <a:t>Presenter title</a:t>
            </a:r>
          </a:p>
        </p:txBody>
      </p:sp>
      <p:sp>
        <p:nvSpPr>
          <p:cNvPr id="16" name="Text Placeholder 14">
            <a:extLst>
              <a:ext uri="{FF2B5EF4-FFF2-40B4-BE49-F238E27FC236}">
                <a16:creationId xmlns:a16="http://schemas.microsoft.com/office/drawing/2014/main" id="{0B9A9D47-05D2-409D-A941-8374F9F8E2D4}"/>
              </a:ext>
            </a:extLst>
          </p:cNvPr>
          <p:cNvSpPr>
            <a:spLocks noGrp="1"/>
          </p:cNvSpPr>
          <p:nvPr>
            <p:ph type="body" sz="quarter" idx="12" hasCustomPrompt="1"/>
          </p:nvPr>
        </p:nvSpPr>
        <p:spPr>
          <a:xfrm>
            <a:off x="7864834" y="5781821"/>
            <a:ext cx="2700000" cy="744977"/>
          </a:xfrm>
        </p:spPr>
        <p:txBody>
          <a:bodyPr anchor="b">
            <a:noAutofit/>
          </a:bodyPr>
          <a:lstStyle>
            <a:lvl1pPr algn="r">
              <a:defRPr sz="1600" b="0">
                <a:solidFill>
                  <a:schemeClr val="bg1"/>
                </a:solidFill>
                <a:latin typeface="+mn-lt"/>
              </a:defRPr>
            </a:lvl1pPr>
            <a:lvl2pPr>
              <a:defRPr sz="1600">
                <a:solidFill>
                  <a:schemeClr val="bg1"/>
                </a:solidFill>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00 Month YY20</a:t>
            </a:r>
          </a:p>
        </p:txBody>
      </p:sp>
      <p:cxnSp>
        <p:nvCxnSpPr>
          <p:cNvPr id="19" name="Straight Connector 18">
            <a:extLst>
              <a:ext uri="{FF2B5EF4-FFF2-40B4-BE49-F238E27FC236}">
                <a16:creationId xmlns:a16="http://schemas.microsoft.com/office/drawing/2014/main" id="{DB400A8E-928A-43DB-8723-796D9A555203}"/>
              </a:ext>
            </a:extLst>
          </p:cNvPr>
          <p:cNvCxnSpPr>
            <a:cxnSpLocks/>
          </p:cNvCxnSpPr>
          <p:nvPr userDrawn="1"/>
        </p:nvCxnSpPr>
        <p:spPr>
          <a:xfrm>
            <a:off x="3456000" y="388136"/>
            <a:ext cx="0" cy="601200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218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box with 4 quadrant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3E5D367-3ECD-4D95-8593-6E37E7633C61}"/>
              </a:ext>
            </a:extLst>
          </p:cNvPr>
          <p:cNvSpPr/>
          <p:nvPr userDrawn="1"/>
        </p:nvSpPr>
        <p:spPr>
          <a:xfrm>
            <a:off x="0" y="1584000"/>
            <a:ext cx="12192000" cy="5256000"/>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p:cNvSpPr>
            <a:spLocks noGrp="1"/>
          </p:cNvSpPr>
          <p:nvPr>
            <p:ph type="title"/>
          </p:nvPr>
        </p:nvSpPr>
        <p:spPr/>
        <p:txBody>
          <a:bodyPr/>
          <a:lstStyle/>
          <a:p>
            <a:r>
              <a:rPr lang="en-US"/>
              <a:t>Click to edit Master title style</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cxnSp>
        <p:nvCxnSpPr>
          <p:cNvPr id="10" name="Straight Connector 9">
            <a:extLst>
              <a:ext uri="{FF2B5EF4-FFF2-40B4-BE49-F238E27FC236}">
                <a16:creationId xmlns:a16="http://schemas.microsoft.com/office/drawing/2014/main" id="{C2A67116-4454-462F-A3FD-DC94D36B8379}"/>
              </a:ext>
            </a:extLst>
          </p:cNvPr>
          <p:cNvCxnSpPr/>
          <p:nvPr userDrawn="1"/>
        </p:nvCxnSpPr>
        <p:spPr>
          <a:xfrm>
            <a:off x="360000" y="6300000"/>
            <a:ext cx="11473200"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D30AEF18-0048-410F-AB0A-6EBF9EE73C5F}"/>
              </a:ext>
            </a:extLst>
          </p:cNvPr>
          <p:cNvSpPr>
            <a:spLocks noGrp="1"/>
          </p:cNvSpPr>
          <p:nvPr>
            <p:ph type="body" sz="quarter" idx="13"/>
          </p:nvPr>
        </p:nvSpPr>
        <p:spPr>
          <a:xfrm>
            <a:off x="360363" y="1728000"/>
            <a:ext cx="2736000" cy="441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Text Placeholder 13">
            <a:extLst>
              <a:ext uri="{FF2B5EF4-FFF2-40B4-BE49-F238E27FC236}">
                <a16:creationId xmlns:a16="http://schemas.microsoft.com/office/drawing/2014/main" id="{79CE6DB5-6EC9-4FCA-8E33-1569637E9BA3}"/>
              </a:ext>
            </a:extLst>
          </p:cNvPr>
          <p:cNvSpPr>
            <a:spLocks noGrp="1"/>
          </p:cNvSpPr>
          <p:nvPr>
            <p:ph type="body" sz="quarter" idx="14"/>
          </p:nvPr>
        </p:nvSpPr>
        <p:spPr>
          <a:xfrm>
            <a:off x="3422345" y="1728788"/>
            <a:ext cx="1944000" cy="2016000"/>
          </a:xfrm>
        </p:spPr>
        <p:txBody>
          <a:bodyPr/>
          <a:lstStyle>
            <a:lvl1pPr>
              <a:defRPr sz="12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6" name="Text Placeholder 13">
            <a:extLst>
              <a:ext uri="{FF2B5EF4-FFF2-40B4-BE49-F238E27FC236}">
                <a16:creationId xmlns:a16="http://schemas.microsoft.com/office/drawing/2014/main" id="{6A0EE890-674F-4513-9B6E-9E8A4D4EE23B}"/>
              </a:ext>
            </a:extLst>
          </p:cNvPr>
          <p:cNvSpPr>
            <a:spLocks noGrp="1"/>
          </p:cNvSpPr>
          <p:nvPr>
            <p:ph type="body" sz="quarter" idx="15"/>
          </p:nvPr>
        </p:nvSpPr>
        <p:spPr>
          <a:xfrm>
            <a:off x="3420000" y="4120295"/>
            <a:ext cx="1944000" cy="2016000"/>
          </a:xfrm>
        </p:spPr>
        <p:txBody>
          <a:bodyPr/>
          <a:lstStyle>
            <a:lvl1pPr>
              <a:defRPr sz="12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cxnSp>
        <p:nvCxnSpPr>
          <p:cNvPr id="18" name="Straight Connector 17">
            <a:extLst>
              <a:ext uri="{FF2B5EF4-FFF2-40B4-BE49-F238E27FC236}">
                <a16:creationId xmlns:a16="http://schemas.microsoft.com/office/drawing/2014/main" id="{DE5F3C85-5357-43EC-A1C1-36604BBB1AF2}"/>
              </a:ext>
            </a:extLst>
          </p:cNvPr>
          <p:cNvCxnSpPr/>
          <p:nvPr userDrawn="1"/>
        </p:nvCxnSpPr>
        <p:spPr>
          <a:xfrm>
            <a:off x="3259354" y="1728000"/>
            <a:ext cx="0" cy="440829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8057F61-0899-4B7C-BD2B-3738152A2B7E}"/>
              </a:ext>
            </a:extLst>
          </p:cNvPr>
          <p:cNvCxnSpPr>
            <a:cxnSpLocks/>
          </p:cNvCxnSpPr>
          <p:nvPr userDrawn="1"/>
        </p:nvCxnSpPr>
        <p:spPr>
          <a:xfrm flipH="1">
            <a:off x="3420000" y="3929035"/>
            <a:ext cx="19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C90CB6B-A391-4BF9-8C5A-B72CA862E5A9}"/>
              </a:ext>
            </a:extLst>
          </p:cNvPr>
          <p:cNvCxnSpPr/>
          <p:nvPr userDrawn="1"/>
        </p:nvCxnSpPr>
        <p:spPr>
          <a:xfrm>
            <a:off x="5529336" y="1728000"/>
            <a:ext cx="0" cy="440829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E0242911-8827-4F09-B4C0-F5B40262A31E}"/>
              </a:ext>
            </a:extLst>
          </p:cNvPr>
          <p:cNvCxnSpPr/>
          <p:nvPr userDrawn="1"/>
        </p:nvCxnSpPr>
        <p:spPr>
          <a:xfrm>
            <a:off x="8375318" y="1728000"/>
            <a:ext cx="0" cy="440829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Content Placeholder 26">
            <a:extLst>
              <a:ext uri="{FF2B5EF4-FFF2-40B4-BE49-F238E27FC236}">
                <a16:creationId xmlns:a16="http://schemas.microsoft.com/office/drawing/2014/main" id="{9F3CABFF-021D-4DB0-B816-0E2C407AA396}"/>
              </a:ext>
            </a:extLst>
          </p:cNvPr>
          <p:cNvSpPr>
            <a:spLocks noGrp="1"/>
          </p:cNvSpPr>
          <p:nvPr>
            <p:ph sz="quarter" idx="16"/>
          </p:nvPr>
        </p:nvSpPr>
        <p:spPr>
          <a:xfrm>
            <a:off x="5692327" y="2103123"/>
            <a:ext cx="2520000" cy="4053202"/>
          </a:xfrm>
        </p:spPr>
        <p:txBody>
          <a:bodyPr/>
          <a:lstStyle>
            <a:lvl1pPr>
              <a:defRPr sz="1200">
                <a:latin typeface="Public Sans SemiBold" pitchFamily="2" charset="0"/>
              </a:defRPr>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8" name="Content Placeholder 26">
            <a:extLst>
              <a:ext uri="{FF2B5EF4-FFF2-40B4-BE49-F238E27FC236}">
                <a16:creationId xmlns:a16="http://schemas.microsoft.com/office/drawing/2014/main" id="{F3D2FA77-52F3-471B-A291-EED89A0DE685}"/>
              </a:ext>
            </a:extLst>
          </p:cNvPr>
          <p:cNvSpPr>
            <a:spLocks noGrp="1"/>
          </p:cNvSpPr>
          <p:nvPr>
            <p:ph sz="quarter" idx="17"/>
          </p:nvPr>
        </p:nvSpPr>
        <p:spPr>
          <a:xfrm>
            <a:off x="8538308" y="2103123"/>
            <a:ext cx="3269692" cy="4053202"/>
          </a:xfrm>
        </p:spPr>
        <p:txBody>
          <a:bodyPr/>
          <a:lstStyle>
            <a:lvl1pPr>
              <a:defRPr sz="1200">
                <a:latin typeface="Public Sans SemiBold" pitchFamily="2" charset="0"/>
              </a:defRPr>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0" name="Picture Placeholder 29">
            <a:extLst>
              <a:ext uri="{FF2B5EF4-FFF2-40B4-BE49-F238E27FC236}">
                <a16:creationId xmlns:a16="http://schemas.microsoft.com/office/drawing/2014/main" id="{EA4CE82D-B1F3-42D5-BFC4-5FF9241B02D7}"/>
              </a:ext>
            </a:extLst>
          </p:cNvPr>
          <p:cNvSpPr>
            <a:spLocks noGrp="1"/>
          </p:cNvSpPr>
          <p:nvPr>
            <p:ph type="pic" sz="quarter" idx="18"/>
          </p:nvPr>
        </p:nvSpPr>
        <p:spPr>
          <a:xfrm>
            <a:off x="3944345" y="2286788"/>
            <a:ext cx="900000" cy="900000"/>
          </a:xfrm>
        </p:spPr>
        <p:txBody>
          <a:bodyPr/>
          <a:lstStyle/>
          <a:p>
            <a:r>
              <a:rPr lang="en-US"/>
              <a:t>Click icon to add picture</a:t>
            </a:r>
            <a:endParaRPr lang="en-AU"/>
          </a:p>
        </p:txBody>
      </p:sp>
      <p:sp>
        <p:nvSpPr>
          <p:cNvPr id="31" name="Picture Placeholder 29">
            <a:extLst>
              <a:ext uri="{FF2B5EF4-FFF2-40B4-BE49-F238E27FC236}">
                <a16:creationId xmlns:a16="http://schemas.microsoft.com/office/drawing/2014/main" id="{FD821410-29F3-4DF7-B1BB-8609C9096EE2}"/>
              </a:ext>
            </a:extLst>
          </p:cNvPr>
          <p:cNvSpPr>
            <a:spLocks noGrp="1"/>
          </p:cNvSpPr>
          <p:nvPr>
            <p:ph type="pic" sz="quarter" idx="19"/>
          </p:nvPr>
        </p:nvSpPr>
        <p:spPr>
          <a:xfrm>
            <a:off x="3942000" y="4678295"/>
            <a:ext cx="900000" cy="900000"/>
          </a:xfrm>
        </p:spPr>
        <p:txBody>
          <a:bodyPr/>
          <a:lstStyle/>
          <a:p>
            <a:r>
              <a:rPr lang="en-US"/>
              <a:t>Click icon to add picture</a:t>
            </a:r>
            <a:endParaRPr lang="en-AU"/>
          </a:p>
        </p:txBody>
      </p:sp>
      <p:sp>
        <p:nvSpPr>
          <p:cNvPr id="32" name="Text Placeholder 13">
            <a:extLst>
              <a:ext uri="{FF2B5EF4-FFF2-40B4-BE49-F238E27FC236}">
                <a16:creationId xmlns:a16="http://schemas.microsoft.com/office/drawing/2014/main" id="{77997327-1253-41DB-B0DD-0A414715E932}"/>
              </a:ext>
            </a:extLst>
          </p:cNvPr>
          <p:cNvSpPr>
            <a:spLocks noGrp="1"/>
          </p:cNvSpPr>
          <p:nvPr>
            <p:ph type="body" sz="quarter" idx="20" hasCustomPrompt="1"/>
          </p:nvPr>
        </p:nvSpPr>
        <p:spPr>
          <a:xfrm>
            <a:off x="5687236" y="1728788"/>
            <a:ext cx="2520000" cy="374332"/>
          </a:xfrm>
        </p:spPr>
        <p:txBody>
          <a:bodyPr/>
          <a:lstStyle>
            <a:lvl1pPr>
              <a:defRPr sz="1200">
                <a:latin typeface="Public Sans SemiBold" pitchFamily="2" charset="0"/>
              </a:defRPr>
            </a:lvl1pPr>
            <a:lvl2pPr>
              <a:defRPr sz="1000"/>
            </a:lvl2pPr>
            <a:lvl3pPr>
              <a:defRPr sz="1000"/>
            </a:lvl3pPr>
            <a:lvl4pPr>
              <a:defRPr sz="1000"/>
            </a:lvl4pPr>
            <a:lvl5pPr>
              <a:defRPr sz="1000"/>
            </a:lvl5pPr>
          </a:lstStyle>
          <a:p>
            <a:pPr lvl="0"/>
            <a:r>
              <a:rPr lang="en-US"/>
              <a:t>Heading here</a:t>
            </a:r>
            <a:endParaRPr lang="en-AU"/>
          </a:p>
        </p:txBody>
      </p:sp>
      <p:sp>
        <p:nvSpPr>
          <p:cNvPr id="33" name="Text Placeholder 13">
            <a:extLst>
              <a:ext uri="{FF2B5EF4-FFF2-40B4-BE49-F238E27FC236}">
                <a16:creationId xmlns:a16="http://schemas.microsoft.com/office/drawing/2014/main" id="{6A7A3DE4-B76A-4DA3-9340-FFAA6B8830A0}"/>
              </a:ext>
            </a:extLst>
          </p:cNvPr>
          <p:cNvSpPr>
            <a:spLocks noGrp="1"/>
          </p:cNvSpPr>
          <p:nvPr>
            <p:ph type="body" sz="quarter" idx="21" hasCustomPrompt="1"/>
          </p:nvPr>
        </p:nvSpPr>
        <p:spPr>
          <a:xfrm>
            <a:off x="8528459" y="1728788"/>
            <a:ext cx="3303177" cy="374332"/>
          </a:xfrm>
        </p:spPr>
        <p:txBody>
          <a:bodyPr/>
          <a:lstStyle>
            <a:lvl1pPr>
              <a:defRPr sz="1200">
                <a:latin typeface="Public Sans SemiBold" pitchFamily="2" charset="0"/>
              </a:defRPr>
            </a:lvl1pPr>
            <a:lvl2pPr>
              <a:defRPr sz="1000"/>
            </a:lvl2pPr>
            <a:lvl3pPr>
              <a:defRPr sz="1000"/>
            </a:lvl3pPr>
            <a:lvl4pPr>
              <a:defRPr sz="1000"/>
            </a:lvl4pPr>
            <a:lvl5pPr>
              <a:defRPr sz="1000"/>
            </a:lvl5pPr>
          </a:lstStyle>
          <a:p>
            <a:pPr lvl="0"/>
            <a:r>
              <a:rPr lang="en-US"/>
              <a:t>Heading here</a:t>
            </a:r>
            <a:endParaRPr lang="en-AU"/>
          </a:p>
        </p:txBody>
      </p:sp>
    </p:spTree>
    <p:extLst>
      <p:ext uri="{BB962C8B-B14F-4D97-AF65-F5344CB8AC3E}">
        <p14:creationId xmlns:p14="http://schemas.microsoft.com/office/powerpoint/2010/main" val="3091368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with two multi-content boxes">
    <p:spTree>
      <p:nvGrpSpPr>
        <p:cNvPr id="1" name=""/>
        <p:cNvGrpSpPr/>
        <p:nvPr/>
      </p:nvGrpSpPr>
      <p:grpSpPr>
        <a:xfrm>
          <a:off x="0" y="0"/>
          <a:ext cx="0" cy="0"/>
          <a:chOff x="0" y="0"/>
          <a:chExt cx="0" cy="0"/>
        </a:xfrm>
      </p:grpSpPr>
      <p:sp>
        <p:nvSpPr>
          <p:cNvPr id="2" name="Title 1"/>
          <p:cNvSpPr>
            <a:spLocks noGrp="1"/>
          </p:cNvSpPr>
          <p:nvPr>
            <p:ph type="title"/>
          </p:nvPr>
        </p:nvSpPr>
        <p:spPr>
          <a:xfrm>
            <a:off x="540000" y="360000"/>
            <a:ext cx="9531360" cy="100965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sz="half" idx="1"/>
          </p:nvPr>
        </p:nvSpPr>
        <p:spPr>
          <a:xfrm>
            <a:off x="7127999" y="1728000"/>
            <a:ext cx="4679995" cy="222169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128000" y="4093697"/>
            <a:ext cx="4679994" cy="194837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cxnSp>
        <p:nvCxnSpPr>
          <p:cNvPr id="10" name="Straight Connector 9">
            <a:extLst>
              <a:ext uri="{FF2B5EF4-FFF2-40B4-BE49-F238E27FC236}">
                <a16:creationId xmlns:a16="http://schemas.microsoft.com/office/drawing/2014/main" id="{C2A67116-4454-462F-A3FD-DC94D36B8379}"/>
              </a:ext>
            </a:extLst>
          </p:cNvPr>
          <p:cNvCxnSpPr/>
          <p:nvPr userDrawn="1"/>
        </p:nvCxnSpPr>
        <p:spPr>
          <a:xfrm>
            <a:off x="360000" y="360000"/>
            <a:ext cx="0" cy="59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Picture Placeholder 14">
            <a:extLst>
              <a:ext uri="{FF2B5EF4-FFF2-40B4-BE49-F238E27FC236}">
                <a16:creationId xmlns:a16="http://schemas.microsoft.com/office/drawing/2014/main" id="{A1EC6F40-A8A0-4128-90D0-E467B30278DC}"/>
              </a:ext>
            </a:extLst>
          </p:cNvPr>
          <p:cNvSpPr>
            <a:spLocks noGrp="1"/>
          </p:cNvSpPr>
          <p:nvPr>
            <p:ph type="pic" sz="quarter" idx="13"/>
          </p:nvPr>
        </p:nvSpPr>
        <p:spPr>
          <a:xfrm>
            <a:off x="539750" y="1728788"/>
            <a:ext cx="6229350" cy="4536000"/>
          </a:xfrm>
        </p:spPr>
        <p:txBody>
          <a:bodyPr/>
          <a:lstStyle/>
          <a:p>
            <a:r>
              <a:rPr lang="en-US"/>
              <a:t>Click icon to add picture</a:t>
            </a:r>
            <a:endParaRPr lang="en-AU"/>
          </a:p>
        </p:txBody>
      </p:sp>
      <p:sp>
        <p:nvSpPr>
          <p:cNvPr id="16" name="Text Placeholder 12">
            <a:extLst>
              <a:ext uri="{FF2B5EF4-FFF2-40B4-BE49-F238E27FC236}">
                <a16:creationId xmlns:a16="http://schemas.microsoft.com/office/drawing/2014/main" id="{0EAFF04E-EED2-4901-9136-39CEC8DFA263}"/>
              </a:ext>
            </a:extLst>
          </p:cNvPr>
          <p:cNvSpPr>
            <a:spLocks noGrp="1"/>
          </p:cNvSpPr>
          <p:nvPr>
            <p:ph type="body" sz="quarter" idx="14" hasCustomPrompt="1"/>
          </p:nvPr>
        </p:nvSpPr>
        <p:spPr>
          <a:xfrm>
            <a:off x="7127999" y="6173999"/>
            <a:ext cx="4703999" cy="180000"/>
          </a:xfrm>
        </p:spPr>
        <p:txBody>
          <a:bodyPr>
            <a:normAutofit/>
          </a:bodyPr>
          <a:lstStyle>
            <a:lvl1pPr>
              <a:defRPr sz="1000">
                <a:latin typeface="+mn-lt"/>
              </a:defRPr>
            </a:lvl1pPr>
          </a:lstStyle>
          <a:p>
            <a:pPr lvl="0"/>
            <a:r>
              <a:rPr lang="en-US"/>
              <a:t>Figure</a:t>
            </a:r>
            <a:endParaRPr lang="en-AU"/>
          </a:p>
        </p:txBody>
      </p:sp>
      <p:cxnSp>
        <p:nvCxnSpPr>
          <p:cNvPr id="17" name="Straight Connector 16">
            <a:extLst>
              <a:ext uri="{FF2B5EF4-FFF2-40B4-BE49-F238E27FC236}">
                <a16:creationId xmlns:a16="http://schemas.microsoft.com/office/drawing/2014/main" id="{82CE467A-6B5B-43F6-973F-516915856717}"/>
              </a:ext>
            </a:extLst>
          </p:cNvPr>
          <p:cNvCxnSpPr>
            <a:cxnSpLocks/>
          </p:cNvCxnSpPr>
          <p:nvPr userDrawn="1"/>
        </p:nvCxnSpPr>
        <p:spPr>
          <a:xfrm>
            <a:off x="6948000" y="1728000"/>
            <a:ext cx="0" cy="459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3696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charts with supporting text">
    <p:spTree>
      <p:nvGrpSpPr>
        <p:cNvPr id="1" name=""/>
        <p:cNvGrpSpPr/>
        <p:nvPr/>
      </p:nvGrpSpPr>
      <p:grpSpPr>
        <a:xfrm>
          <a:off x="0" y="0"/>
          <a:ext cx="0" cy="0"/>
          <a:chOff x="0" y="0"/>
          <a:chExt cx="0" cy="0"/>
        </a:xfrm>
      </p:grpSpPr>
      <p:sp>
        <p:nvSpPr>
          <p:cNvPr id="2" name="Title 1"/>
          <p:cNvSpPr>
            <a:spLocks noGrp="1"/>
          </p:cNvSpPr>
          <p:nvPr>
            <p:ph type="title"/>
          </p:nvPr>
        </p:nvSpPr>
        <p:spPr>
          <a:xfrm>
            <a:off x="540000" y="360000"/>
            <a:ext cx="9720000" cy="1009652"/>
          </a:xfrm>
        </p:spPr>
        <p:txBody>
          <a:bodyPr/>
          <a:lstStyle>
            <a:lvl1pPr>
              <a:defRPr>
                <a:solidFill>
                  <a:schemeClr val="bg2"/>
                </a:solidFill>
              </a:defRPr>
            </a:lvl1pPr>
          </a:lstStyle>
          <a:p>
            <a:r>
              <a:rPr lang="en-US"/>
              <a:t>Click to edit Master title style</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cxnSp>
        <p:nvCxnSpPr>
          <p:cNvPr id="10" name="Straight Connector 9">
            <a:extLst>
              <a:ext uri="{FF2B5EF4-FFF2-40B4-BE49-F238E27FC236}">
                <a16:creationId xmlns:a16="http://schemas.microsoft.com/office/drawing/2014/main" id="{C2A67116-4454-462F-A3FD-DC94D36B8379}"/>
              </a:ext>
            </a:extLst>
          </p:cNvPr>
          <p:cNvCxnSpPr/>
          <p:nvPr userDrawn="1"/>
        </p:nvCxnSpPr>
        <p:spPr>
          <a:xfrm>
            <a:off x="360000" y="360000"/>
            <a:ext cx="0" cy="595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2CE467A-6B5B-43F6-973F-516915856717}"/>
              </a:ext>
            </a:extLst>
          </p:cNvPr>
          <p:cNvCxnSpPr>
            <a:cxnSpLocks/>
          </p:cNvCxnSpPr>
          <p:nvPr userDrawn="1"/>
        </p:nvCxnSpPr>
        <p:spPr>
          <a:xfrm>
            <a:off x="8928000" y="3330000"/>
            <a:ext cx="0" cy="298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Chart Placeholder 11">
            <a:extLst>
              <a:ext uri="{FF2B5EF4-FFF2-40B4-BE49-F238E27FC236}">
                <a16:creationId xmlns:a16="http://schemas.microsoft.com/office/drawing/2014/main" id="{D7E1CAC4-88FF-4E85-8A37-9D1F4A8514EE}"/>
              </a:ext>
            </a:extLst>
          </p:cNvPr>
          <p:cNvSpPr>
            <a:spLocks noGrp="1"/>
          </p:cNvSpPr>
          <p:nvPr>
            <p:ph type="chart" sz="quarter" idx="15"/>
          </p:nvPr>
        </p:nvSpPr>
        <p:spPr>
          <a:xfrm>
            <a:off x="539750" y="1554163"/>
            <a:ext cx="7560000" cy="3938587"/>
          </a:xfrm>
        </p:spPr>
        <p:txBody>
          <a:bodyPr/>
          <a:lstStyle/>
          <a:p>
            <a:r>
              <a:rPr lang="en-US"/>
              <a:t>Click icon to add chart</a:t>
            </a:r>
            <a:endParaRPr lang="en-AU"/>
          </a:p>
        </p:txBody>
      </p:sp>
      <p:sp>
        <p:nvSpPr>
          <p:cNvPr id="18" name="Chart Placeholder 17">
            <a:extLst>
              <a:ext uri="{FF2B5EF4-FFF2-40B4-BE49-F238E27FC236}">
                <a16:creationId xmlns:a16="http://schemas.microsoft.com/office/drawing/2014/main" id="{0F4F51DE-C82F-4C69-9901-7D4EF2CBE8D4}"/>
              </a:ext>
            </a:extLst>
          </p:cNvPr>
          <p:cNvSpPr>
            <a:spLocks noGrp="1"/>
          </p:cNvSpPr>
          <p:nvPr>
            <p:ph type="chart" sz="quarter" idx="16"/>
          </p:nvPr>
        </p:nvSpPr>
        <p:spPr>
          <a:xfrm>
            <a:off x="9115425" y="3330000"/>
            <a:ext cx="2716213" cy="2162750"/>
          </a:xfrm>
        </p:spPr>
        <p:txBody>
          <a:bodyPr/>
          <a:lstStyle/>
          <a:p>
            <a:r>
              <a:rPr lang="en-US"/>
              <a:t>Click icon to add chart</a:t>
            </a:r>
            <a:endParaRPr lang="en-AU"/>
          </a:p>
        </p:txBody>
      </p:sp>
      <p:sp>
        <p:nvSpPr>
          <p:cNvPr id="20" name="Text Placeholder 19">
            <a:extLst>
              <a:ext uri="{FF2B5EF4-FFF2-40B4-BE49-F238E27FC236}">
                <a16:creationId xmlns:a16="http://schemas.microsoft.com/office/drawing/2014/main" id="{CD3768AF-49AB-464E-9DF6-68376B8AC32E}"/>
              </a:ext>
            </a:extLst>
          </p:cNvPr>
          <p:cNvSpPr>
            <a:spLocks noGrp="1"/>
          </p:cNvSpPr>
          <p:nvPr>
            <p:ph type="body" sz="quarter" idx="17"/>
          </p:nvPr>
        </p:nvSpPr>
        <p:spPr>
          <a:xfrm>
            <a:off x="539750" y="5627688"/>
            <a:ext cx="7560000" cy="690562"/>
          </a:xfrm>
        </p:spPr>
        <p:txBody>
          <a:bodyPr>
            <a:noAutofit/>
          </a:bodyPr>
          <a:lstStyle>
            <a:lvl1pPr>
              <a:lnSpc>
                <a:spcPct val="100000"/>
              </a:lnSpc>
              <a:spcAft>
                <a:spcPts val="0"/>
              </a:spcAft>
              <a:defRPr sz="1200">
                <a:latin typeface="Public Sans SemiBold" pitchFamily="2" charset="0"/>
              </a:defRPr>
            </a:lvl1pPr>
            <a:lvl2pPr>
              <a:lnSpc>
                <a:spcPct val="100000"/>
              </a:lnSpc>
              <a:spcAft>
                <a:spcPts val="0"/>
              </a:spcAft>
              <a:defRPr sz="1200">
                <a:latin typeface="+mn-lt"/>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21" name="Text Placeholder 19">
            <a:extLst>
              <a:ext uri="{FF2B5EF4-FFF2-40B4-BE49-F238E27FC236}">
                <a16:creationId xmlns:a16="http://schemas.microsoft.com/office/drawing/2014/main" id="{2A94C0C8-30F5-4B00-BC99-C6DFC381A6C9}"/>
              </a:ext>
            </a:extLst>
          </p:cNvPr>
          <p:cNvSpPr>
            <a:spLocks noGrp="1"/>
          </p:cNvSpPr>
          <p:nvPr>
            <p:ph type="body" sz="quarter" idx="18"/>
          </p:nvPr>
        </p:nvSpPr>
        <p:spPr>
          <a:xfrm>
            <a:off x="9123533" y="5627688"/>
            <a:ext cx="2716213" cy="690562"/>
          </a:xfrm>
        </p:spPr>
        <p:txBody>
          <a:bodyPr>
            <a:noAutofit/>
          </a:bodyPr>
          <a:lstStyle>
            <a:lvl1pPr>
              <a:lnSpc>
                <a:spcPct val="100000"/>
              </a:lnSpc>
              <a:spcAft>
                <a:spcPts val="0"/>
              </a:spcAft>
              <a:defRPr sz="1200">
                <a:latin typeface="Public Sans SemiBold" pitchFamily="2" charset="0"/>
              </a:defRPr>
            </a:lvl1pPr>
            <a:lvl2pPr>
              <a:lnSpc>
                <a:spcPct val="100000"/>
              </a:lnSpc>
              <a:spcAft>
                <a:spcPts val="0"/>
              </a:spcAft>
              <a:defRPr sz="1200">
                <a:latin typeface="+mn-lt"/>
              </a:defRPr>
            </a:lvl2pPr>
            <a:lvl3pPr>
              <a:defRPr sz="1200"/>
            </a:lvl3pPr>
            <a:lvl4pPr>
              <a:defRPr sz="1200"/>
            </a:lvl4pPr>
            <a:lvl5pPr>
              <a:defRPr sz="12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125962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59999" y="1800000"/>
            <a:ext cx="5400000" cy="540000"/>
          </a:xfrm>
        </p:spPr>
        <p:txBody>
          <a:bodyPr anchor="t"/>
          <a:lstStyle>
            <a:lvl1pPr marL="0" indent="0">
              <a:buNone/>
              <a:defRPr sz="16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359999" y="2340000"/>
            <a:ext cx="5400000" cy="3960000"/>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408000" y="1800000"/>
            <a:ext cx="5400000" cy="540000"/>
          </a:xfrm>
        </p:spPr>
        <p:txBody>
          <a:bodyPr anchor="t"/>
          <a:lstStyle>
            <a:lvl1pPr marL="0" indent="0">
              <a:buNone/>
              <a:defRPr sz="16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408000" y="2340000"/>
            <a:ext cx="5400000" cy="3960000"/>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p:cNvSpPr>
            <a:spLocks noGrp="1"/>
          </p:cNvSpPr>
          <p:nvPr>
            <p:ph type="ftr" sz="quarter" idx="11"/>
          </p:nvPr>
        </p:nvSpPr>
        <p:spPr/>
        <p:txBody>
          <a:bodyPr/>
          <a:lstStyle/>
          <a:p>
            <a:r>
              <a:rPr lang="en-US"/>
              <a:t>Descriptor</a:t>
            </a:r>
            <a:endParaRPr lang="en-AU"/>
          </a:p>
        </p:txBody>
      </p:sp>
      <p:sp>
        <p:nvSpPr>
          <p:cNvPr id="9" name="Slide Number Placeholder 8"/>
          <p:cNvSpPr>
            <a:spLocks noGrp="1"/>
          </p:cNvSpPr>
          <p:nvPr>
            <p:ph type="sldNum" sz="quarter" idx="12"/>
          </p:nvPr>
        </p:nvSpPr>
        <p:spPr/>
        <p:txBody>
          <a:bodyPr/>
          <a:lstStyle/>
          <a:p>
            <a:fld id="{10A01DC5-1685-4615-8240-15192985C6A2}" type="slidenum">
              <a:rPr lang="en-AU" smtClean="0"/>
              <a:t>‹#›</a:t>
            </a:fld>
            <a:endParaRPr lang="en-AU"/>
          </a:p>
        </p:txBody>
      </p:sp>
      <p:sp>
        <p:nvSpPr>
          <p:cNvPr id="10" name="Title Placeholder 1">
            <a:extLst>
              <a:ext uri="{FF2B5EF4-FFF2-40B4-BE49-F238E27FC236}">
                <a16:creationId xmlns:a16="http://schemas.microsoft.com/office/drawing/2014/main" id="{C1A3F1C1-3AA5-49E1-9481-3B7111F8505D}"/>
              </a:ext>
            </a:extLst>
          </p:cNvPr>
          <p:cNvSpPr>
            <a:spLocks noGrp="1"/>
          </p:cNvSpPr>
          <p:nvPr>
            <p:ph type="title"/>
          </p:nvPr>
        </p:nvSpPr>
        <p:spPr>
          <a:xfrm>
            <a:off x="360000" y="360000"/>
            <a:ext cx="9720000" cy="1009652"/>
          </a:xfrm>
          <a:prstGeom prst="rect">
            <a:avLst/>
          </a:prstGeom>
        </p:spPr>
        <p:txBody>
          <a:bodyPr vert="horz" lIns="0" tIns="0" rIns="0" bIns="0" rtlCol="0" anchor="t">
            <a:normAutofit/>
          </a:bodyPr>
          <a:lstStyle/>
          <a:p>
            <a:r>
              <a:rPr lang="en-US"/>
              <a:t>Click to edit Master title style</a:t>
            </a:r>
          </a:p>
        </p:txBody>
      </p:sp>
      <p:cxnSp>
        <p:nvCxnSpPr>
          <p:cNvPr id="12" name="Straight Connector 11">
            <a:extLst>
              <a:ext uri="{FF2B5EF4-FFF2-40B4-BE49-F238E27FC236}">
                <a16:creationId xmlns:a16="http://schemas.microsoft.com/office/drawing/2014/main" id="{E70612CD-1BF1-42B5-8546-A674A0B86640}"/>
              </a:ext>
            </a:extLst>
          </p:cNvPr>
          <p:cNvCxnSpPr/>
          <p:nvPr userDrawn="1"/>
        </p:nvCxnSpPr>
        <p:spPr>
          <a:xfrm>
            <a:off x="360000" y="1548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C1276FF-A829-4228-B12D-1EEE42C2AB11}"/>
              </a:ext>
            </a:extLst>
          </p:cNvPr>
          <p:cNvCxnSpPr/>
          <p:nvPr userDrawn="1"/>
        </p:nvCxnSpPr>
        <p:spPr>
          <a:xfrm>
            <a:off x="360000" y="630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59563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US"/>
              <a:t>Descriptor</a:t>
            </a:r>
            <a:endParaRPr lang="en-AU"/>
          </a:p>
        </p:txBody>
      </p:sp>
      <p:sp>
        <p:nvSpPr>
          <p:cNvPr id="5" name="Slide Number Placeholder 4"/>
          <p:cNvSpPr>
            <a:spLocks noGrp="1"/>
          </p:cNvSpPr>
          <p:nvPr>
            <p:ph type="sldNum" sz="quarter" idx="12"/>
          </p:nvPr>
        </p:nvSpPr>
        <p:spPr/>
        <p:txBody>
          <a:bodyPr/>
          <a:lstStyle/>
          <a:p>
            <a:fld id="{10A01DC5-1685-4615-8240-15192985C6A2}" type="slidenum">
              <a:rPr lang="en-AU" smtClean="0"/>
              <a:t>‹#›</a:t>
            </a:fld>
            <a:endParaRPr lang="en-AU"/>
          </a:p>
        </p:txBody>
      </p:sp>
    </p:spTree>
    <p:extLst>
      <p:ext uri="{BB962C8B-B14F-4D97-AF65-F5344CB8AC3E}">
        <p14:creationId xmlns:p14="http://schemas.microsoft.com/office/powerpoint/2010/main" val="19668512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a:t>Descriptor</a:t>
            </a:r>
            <a:endParaRPr lang="en-AU"/>
          </a:p>
        </p:txBody>
      </p:sp>
      <p:sp>
        <p:nvSpPr>
          <p:cNvPr id="4" name="Slide Number Placeholder 3"/>
          <p:cNvSpPr>
            <a:spLocks noGrp="1"/>
          </p:cNvSpPr>
          <p:nvPr>
            <p:ph type="sldNum" sz="quarter" idx="12"/>
          </p:nvPr>
        </p:nvSpPr>
        <p:spPr/>
        <p:txBody>
          <a:bodyPr/>
          <a:lstStyle/>
          <a:p>
            <a:fld id="{10A01DC5-1685-4615-8240-15192985C6A2}" type="slidenum">
              <a:rPr lang="en-AU" smtClean="0"/>
              <a:t>‹#›</a:t>
            </a:fld>
            <a:endParaRPr lang="en-AU"/>
          </a:p>
        </p:txBody>
      </p:sp>
    </p:spTree>
    <p:extLst>
      <p:ext uri="{BB962C8B-B14F-4D97-AF65-F5344CB8AC3E}">
        <p14:creationId xmlns:p14="http://schemas.microsoft.com/office/powerpoint/2010/main" val="30397023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Holding Slide">
    <p:spTree>
      <p:nvGrpSpPr>
        <p:cNvPr id="1" name=""/>
        <p:cNvGrpSpPr/>
        <p:nvPr/>
      </p:nvGrpSpPr>
      <p:grpSpPr>
        <a:xfrm>
          <a:off x="0" y="0"/>
          <a:ext cx="0" cy="0"/>
          <a:chOff x="0" y="0"/>
          <a:chExt cx="0" cy="0"/>
        </a:xfrm>
      </p:grpSpPr>
      <p:grpSp>
        <p:nvGrpSpPr>
          <p:cNvPr id="107" name="Group 106">
            <a:extLst>
              <a:ext uri="{FF2B5EF4-FFF2-40B4-BE49-F238E27FC236}">
                <a16:creationId xmlns:a16="http://schemas.microsoft.com/office/drawing/2014/main" id="{7E828B34-A004-5745-B268-3FF2AD81E97A}"/>
              </a:ext>
            </a:extLst>
          </p:cNvPr>
          <p:cNvGrpSpPr/>
          <p:nvPr/>
        </p:nvGrpSpPr>
        <p:grpSpPr>
          <a:xfrm>
            <a:off x="5426422" y="4075538"/>
            <a:ext cx="1321973" cy="137693"/>
            <a:chOff x="3981864" y="4075538"/>
            <a:chExt cx="1321973" cy="137693"/>
          </a:xfrm>
          <a:effectLst>
            <a:reflection endPos="0" dir="5400000" sy="-100000" algn="bl" rotWithShape="0"/>
          </a:effectLst>
        </p:grpSpPr>
        <p:sp>
          <p:nvSpPr>
            <p:cNvPr id="108" name="Freeform 22">
              <a:extLst>
                <a:ext uri="{FF2B5EF4-FFF2-40B4-BE49-F238E27FC236}">
                  <a16:creationId xmlns:a16="http://schemas.microsoft.com/office/drawing/2014/main" id="{6F7C7CA7-66E7-7F4B-AA52-D6E815B9D341}"/>
                </a:ext>
              </a:extLst>
            </p:cNvPr>
            <p:cNvSpPr>
              <a:spLocks/>
            </p:cNvSpPr>
            <p:nvPr/>
          </p:nvSpPr>
          <p:spPr bwMode="auto">
            <a:xfrm>
              <a:off x="3981864" y="4075538"/>
              <a:ext cx="124094" cy="137693"/>
            </a:xfrm>
            <a:custGeom>
              <a:avLst/>
              <a:gdLst>
                <a:gd name="T0" fmla="*/ 0 w 125"/>
                <a:gd name="T1" fmla="*/ 70 h 139"/>
                <a:gd name="T2" fmla="*/ 0 w 125"/>
                <a:gd name="T3" fmla="*/ 69 h 139"/>
                <a:gd name="T4" fmla="*/ 68 w 125"/>
                <a:gd name="T5" fmla="*/ 0 h 139"/>
                <a:gd name="T6" fmla="*/ 120 w 125"/>
                <a:gd name="T7" fmla="*/ 19 h 139"/>
                <a:gd name="T8" fmla="*/ 105 w 125"/>
                <a:gd name="T9" fmla="*/ 36 h 139"/>
                <a:gd name="T10" fmla="*/ 67 w 125"/>
                <a:gd name="T11" fmla="*/ 22 h 139"/>
                <a:gd name="T12" fmla="*/ 24 w 125"/>
                <a:gd name="T13" fmla="*/ 69 h 139"/>
                <a:gd name="T14" fmla="*/ 24 w 125"/>
                <a:gd name="T15" fmla="*/ 69 h 139"/>
                <a:gd name="T16" fmla="*/ 70 w 125"/>
                <a:gd name="T17" fmla="*/ 117 h 139"/>
                <a:gd name="T18" fmla="*/ 102 w 125"/>
                <a:gd name="T19" fmla="*/ 107 h 139"/>
                <a:gd name="T20" fmla="*/ 102 w 125"/>
                <a:gd name="T21" fmla="*/ 82 h 139"/>
                <a:gd name="T22" fmla="*/ 68 w 125"/>
                <a:gd name="T23" fmla="*/ 82 h 139"/>
                <a:gd name="T24" fmla="*/ 68 w 125"/>
                <a:gd name="T25" fmla="*/ 62 h 139"/>
                <a:gd name="T26" fmla="*/ 125 w 125"/>
                <a:gd name="T27" fmla="*/ 62 h 139"/>
                <a:gd name="T28" fmla="*/ 125 w 125"/>
                <a:gd name="T29" fmla="*/ 118 h 139"/>
                <a:gd name="T30" fmla="*/ 69 w 125"/>
                <a:gd name="T31" fmla="*/ 139 h 139"/>
                <a:gd name="T32" fmla="*/ 0 w 125"/>
                <a:gd name="T33"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 h="139">
                  <a:moveTo>
                    <a:pt x="0" y="70"/>
                  </a:moveTo>
                  <a:cubicBezTo>
                    <a:pt x="0" y="69"/>
                    <a:pt x="0" y="69"/>
                    <a:pt x="0" y="69"/>
                  </a:cubicBezTo>
                  <a:cubicBezTo>
                    <a:pt x="0" y="32"/>
                    <a:pt x="28" y="0"/>
                    <a:pt x="68" y="0"/>
                  </a:cubicBezTo>
                  <a:cubicBezTo>
                    <a:pt x="92" y="0"/>
                    <a:pt x="106" y="7"/>
                    <a:pt x="120" y="19"/>
                  </a:cubicBezTo>
                  <a:cubicBezTo>
                    <a:pt x="105" y="36"/>
                    <a:pt x="105" y="36"/>
                    <a:pt x="105" y="36"/>
                  </a:cubicBezTo>
                  <a:cubicBezTo>
                    <a:pt x="95" y="27"/>
                    <a:pt x="84" y="22"/>
                    <a:pt x="67" y="22"/>
                  </a:cubicBezTo>
                  <a:cubicBezTo>
                    <a:pt x="43" y="22"/>
                    <a:pt x="24" y="43"/>
                    <a:pt x="24" y="69"/>
                  </a:cubicBezTo>
                  <a:cubicBezTo>
                    <a:pt x="24" y="69"/>
                    <a:pt x="24" y="69"/>
                    <a:pt x="24" y="69"/>
                  </a:cubicBezTo>
                  <a:cubicBezTo>
                    <a:pt x="24" y="97"/>
                    <a:pt x="42" y="117"/>
                    <a:pt x="70" y="117"/>
                  </a:cubicBezTo>
                  <a:cubicBezTo>
                    <a:pt x="82" y="117"/>
                    <a:pt x="94" y="113"/>
                    <a:pt x="102" y="107"/>
                  </a:cubicBezTo>
                  <a:cubicBezTo>
                    <a:pt x="102" y="82"/>
                    <a:pt x="102" y="82"/>
                    <a:pt x="102" y="82"/>
                  </a:cubicBezTo>
                  <a:cubicBezTo>
                    <a:pt x="68" y="82"/>
                    <a:pt x="68" y="82"/>
                    <a:pt x="68" y="82"/>
                  </a:cubicBezTo>
                  <a:cubicBezTo>
                    <a:pt x="68" y="62"/>
                    <a:pt x="68" y="62"/>
                    <a:pt x="68" y="62"/>
                  </a:cubicBezTo>
                  <a:cubicBezTo>
                    <a:pt x="125" y="62"/>
                    <a:pt x="125" y="62"/>
                    <a:pt x="125" y="62"/>
                  </a:cubicBezTo>
                  <a:cubicBezTo>
                    <a:pt x="125" y="118"/>
                    <a:pt x="125" y="118"/>
                    <a:pt x="125" y="118"/>
                  </a:cubicBezTo>
                  <a:cubicBezTo>
                    <a:pt x="111" y="129"/>
                    <a:pt x="92" y="139"/>
                    <a:pt x="69" y="139"/>
                  </a:cubicBezTo>
                  <a:cubicBezTo>
                    <a:pt x="27" y="139"/>
                    <a:pt x="0" y="109"/>
                    <a:pt x="0" y="7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0" name="Freeform 23">
              <a:extLst>
                <a:ext uri="{FF2B5EF4-FFF2-40B4-BE49-F238E27FC236}">
                  <a16:creationId xmlns:a16="http://schemas.microsoft.com/office/drawing/2014/main" id="{4B4D3777-EEF8-B84E-B85C-A16E3F249089}"/>
                </a:ext>
              </a:extLst>
            </p:cNvPr>
            <p:cNvSpPr>
              <a:spLocks noEditPoints="1"/>
            </p:cNvSpPr>
            <p:nvPr/>
          </p:nvSpPr>
          <p:spPr bwMode="auto">
            <a:xfrm>
              <a:off x="4119559" y="4075538"/>
              <a:ext cx="137693" cy="137693"/>
            </a:xfrm>
            <a:custGeom>
              <a:avLst/>
              <a:gdLst>
                <a:gd name="T0" fmla="*/ 115 w 139"/>
                <a:gd name="T1" fmla="*/ 70 h 139"/>
                <a:gd name="T2" fmla="*/ 115 w 139"/>
                <a:gd name="T3" fmla="*/ 69 h 139"/>
                <a:gd name="T4" fmla="*/ 69 w 139"/>
                <a:gd name="T5" fmla="*/ 22 h 139"/>
                <a:gd name="T6" fmla="*/ 24 w 139"/>
                <a:gd name="T7" fmla="*/ 69 h 139"/>
                <a:gd name="T8" fmla="*/ 24 w 139"/>
                <a:gd name="T9" fmla="*/ 69 h 139"/>
                <a:gd name="T10" fmla="*/ 70 w 139"/>
                <a:gd name="T11" fmla="*/ 117 h 139"/>
                <a:gd name="T12" fmla="*/ 115 w 139"/>
                <a:gd name="T13" fmla="*/ 70 h 139"/>
                <a:gd name="T14" fmla="*/ 0 w 139"/>
                <a:gd name="T15" fmla="*/ 70 h 139"/>
                <a:gd name="T16" fmla="*/ 0 w 139"/>
                <a:gd name="T17" fmla="*/ 69 h 139"/>
                <a:gd name="T18" fmla="*/ 70 w 139"/>
                <a:gd name="T19" fmla="*/ 0 h 139"/>
                <a:gd name="T20" fmla="*/ 139 w 139"/>
                <a:gd name="T21" fmla="*/ 69 h 139"/>
                <a:gd name="T22" fmla="*/ 139 w 139"/>
                <a:gd name="T23" fmla="*/ 69 h 139"/>
                <a:gd name="T24" fmla="*/ 69 w 139"/>
                <a:gd name="T25" fmla="*/ 139 h 139"/>
                <a:gd name="T26" fmla="*/ 0 w 139"/>
                <a:gd name="T27"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9" h="139">
                  <a:moveTo>
                    <a:pt x="115" y="70"/>
                  </a:moveTo>
                  <a:cubicBezTo>
                    <a:pt x="115" y="69"/>
                    <a:pt x="115" y="69"/>
                    <a:pt x="115" y="69"/>
                  </a:cubicBezTo>
                  <a:cubicBezTo>
                    <a:pt x="115" y="43"/>
                    <a:pt x="96" y="22"/>
                    <a:pt x="69" y="22"/>
                  </a:cubicBezTo>
                  <a:cubicBezTo>
                    <a:pt x="43" y="22"/>
                    <a:pt x="24" y="43"/>
                    <a:pt x="24" y="69"/>
                  </a:cubicBezTo>
                  <a:cubicBezTo>
                    <a:pt x="24" y="69"/>
                    <a:pt x="24" y="69"/>
                    <a:pt x="24" y="69"/>
                  </a:cubicBezTo>
                  <a:cubicBezTo>
                    <a:pt x="24" y="95"/>
                    <a:pt x="43" y="117"/>
                    <a:pt x="70" y="117"/>
                  </a:cubicBezTo>
                  <a:cubicBezTo>
                    <a:pt x="96" y="117"/>
                    <a:pt x="115" y="96"/>
                    <a:pt x="115" y="70"/>
                  </a:cubicBezTo>
                  <a:moveTo>
                    <a:pt x="0" y="70"/>
                  </a:moveTo>
                  <a:cubicBezTo>
                    <a:pt x="0" y="69"/>
                    <a:pt x="0" y="69"/>
                    <a:pt x="0" y="69"/>
                  </a:cubicBezTo>
                  <a:cubicBezTo>
                    <a:pt x="0" y="32"/>
                    <a:pt x="29" y="0"/>
                    <a:pt x="70" y="0"/>
                  </a:cubicBezTo>
                  <a:cubicBezTo>
                    <a:pt x="111" y="0"/>
                    <a:pt x="139" y="31"/>
                    <a:pt x="139" y="69"/>
                  </a:cubicBezTo>
                  <a:cubicBezTo>
                    <a:pt x="139" y="69"/>
                    <a:pt x="139" y="69"/>
                    <a:pt x="139" y="69"/>
                  </a:cubicBezTo>
                  <a:cubicBezTo>
                    <a:pt x="139" y="107"/>
                    <a:pt x="110" y="139"/>
                    <a:pt x="69" y="139"/>
                  </a:cubicBezTo>
                  <a:cubicBezTo>
                    <a:pt x="28" y="139"/>
                    <a:pt x="0" y="107"/>
                    <a:pt x="0" y="7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1" name="Freeform 24">
              <a:extLst>
                <a:ext uri="{FF2B5EF4-FFF2-40B4-BE49-F238E27FC236}">
                  <a16:creationId xmlns:a16="http://schemas.microsoft.com/office/drawing/2014/main" id="{CAF61CEF-CE3C-8749-B086-CCF227581F4F}"/>
                </a:ext>
              </a:extLst>
            </p:cNvPr>
            <p:cNvSpPr>
              <a:spLocks/>
            </p:cNvSpPr>
            <p:nvPr/>
          </p:nvSpPr>
          <p:spPr bwMode="auto">
            <a:xfrm>
              <a:off x="4256116" y="4078369"/>
              <a:ext cx="129761" cy="133159"/>
            </a:xfrm>
            <a:custGeom>
              <a:avLst/>
              <a:gdLst>
                <a:gd name="T0" fmla="*/ 0 w 229"/>
                <a:gd name="T1" fmla="*/ 0 h 235"/>
                <a:gd name="T2" fmla="*/ 44 w 229"/>
                <a:gd name="T3" fmla="*/ 0 h 235"/>
                <a:gd name="T4" fmla="*/ 115 w 229"/>
                <a:gd name="T5" fmla="*/ 179 h 235"/>
                <a:gd name="T6" fmla="*/ 185 w 229"/>
                <a:gd name="T7" fmla="*/ 0 h 235"/>
                <a:gd name="T8" fmla="*/ 229 w 229"/>
                <a:gd name="T9" fmla="*/ 0 h 235"/>
                <a:gd name="T10" fmla="*/ 133 w 229"/>
                <a:gd name="T11" fmla="*/ 235 h 235"/>
                <a:gd name="T12" fmla="*/ 96 w 229"/>
                <a:gd name="T13" fmla="*/ 235 h 235"/>
                <a:gd name="T14" fmla="*/ 0 w 229"/>
                <a:gd name="T15" fmla="*/ 0 h 2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9" h="235">
                  <a:moveTo>
                    <a:pt x="0" y="0"/>
                  </a:moveTo>
                  <a:lnTo>
                    <a:pt x="44" y="0"/>
                  </a:lnTo>
                  <a:lnTo>
                    <a:pt x="115" y="179"/>
                  </a:lnTo>
                  <a:lnTo>
                    <a:pt x="185" y="0"/>
                  </a:lnTo>
                  <a:lnTo>
                    <a:pt x="229" y="0"/>
                  </a:lnTo>
                  <a:lnTo>
                    <a:pt x="133" y="235"/>
                  </a:lnTo>
                  <a:lnTo>
                    <a:pt x="96" y="235"/>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2" name="Freeform 25">
              <a:extLst>
                <a:ext uri="{FF2B5EF4-FFF2-40B4-BE49-F238E27FC236}">
                  <a16:creationId xmlns:a16="http://schemas.microsoft.com/office/drawing/2014/main" id="{B0B5E16A-EFC4-6A4B-A716-9AEA2F4782D5}"/>
                </a:ext>
              </a:extLst>
            </p:cNvPr>
            <p:cNvSpPr>
              <a:spLocks/>
            </p:cNvSpPr>
            <p:nvPr/>
          </p:nvSpPr>
          <p:spPr bwMode="auto">
            <a:xfrm>
              <a:off x="4401746" y="4078369"/>
              <a:ext cx="98595" cy="132029"/>
            </a:xfrm>
            <a:custGeom>
              <a:avLst/>
              <a:gdLst>
                <a:gd name="T0" fmla="*/ 0 w 174"/>
                <a:gd name="T1" fmla="*/ 0 h 233"/>
                <a:gd name="T2" fmla="*/ 173 w 174"/>
                <a:gd name="T3" fmla="*/ 0 h 233"/>
                <a:gd name="T4" fmla="*/ 173 w 174"/>
                <a:gd name="T5" fmla="*/ 37 h 233"/>
                <a:gd name="T6" fmla="*/ 40 w 174"/>
                <a:gd name="T7" fmla="*/ 37 h 233"/>
                <a:gd name="T8" fmla="*/ 40 w 174"/>
                <a:gd name="T9" fmla="*/ 96 h 233"/>
                <a:gd name="T10" fmla="*/ 157 w 174"/>
                <a:gd name="T11" fmla="*/ 96 h 233"/>
                <a:gd name="T12" fmla="*/ 157 w 174"/>
                <a:gd name="T13" fmla="*/ 133 h 233"/>
                <a:gd name="T14" fmla="*/ 40 w 174"/>
                <a:gd name="T15" fmla="*/ 133 h 233"/>
                <a:gd name="T16" fmla="*/ 40 w 174"/>
                <a:gd name="T17" fmla="*/ 196 h 233"/>
                <a:gd name="T18" fmla="*/ 174 w 174"/>
                <a:gd name="T19" fmla="*/ 196 h 233"/>
                <a:gd name="T20" fmla="*/ 174 w 174"/>
                <a:gd name="T21" fmla="*/ 233 h 233"/>
                <a:gd name="T22" fmla="*/ 0 w 174"/>
                <a:gd name="T23" fmla="*/ 233 h 233"/>
                <a:gd name="T24" fmla="*/ 0 w 174"/>
                <a:gd name="T25"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 h="233">
                  <a:moveTo>
                    <a:pt x="0" y="0"/>
                  </a:moveTo>
                  <a:lnTo>
                    <a:pt x="173" y="0"/>
                  </a:lnTo>
                  <a:lnTo>
                    <a:pt x="173" y="37"/>
                  </a:lnTo>
                  <a:lnTo>
                    <a:pt x="40" y="37"/>
                  </a:lnTo>
                  <a:lnTo>
                    <a:pt x="40" y="96"/>
                  </a:lnTo>
                  <a:lnTo>
                    <a:pt x="157" y="96"/>
                  </a:lnTo>
                  <a:lnTo>
                    <a:pt x="157" y="133"/>
                  </a:lnTo>
                  <a:lnTo>
                    <a:pt x="40" y="133"/>
                  </a:lnTo>
                  <a:lnTo>
                    <a:pt x="40" y="196"/>
                  </a:lnTo>
                  <a:lnTo>
                    <a:pt x="174" y="196"/>
                  </a:lnTo>
                  <a:lnTo>
                    <a:pt x="174" y="233"/>
                  </a:lnTo>
                  <a:lnTo>
                    <a:pt x="0" y="233"/>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3" name="Freeform 26">
              <a:extLst>
                <a:ext uri="{FF2B5EF4-FFF2-40B4-BE49-F238E27FC236}">
                  <a16:creationId xmlns:a16="http://schemas.microsoft.com/office/drawing/2014/main" id="{04A08AC9-F30D-6444-881F-8A3E2B9AE430}"/>
                </a:ext>
              </a:extLst>
            </p:cNvPr>
            <p:cNvSpPr>
              <a:spLocks noEditPoints="1"/>
            </p:cNvSpPr>
            <p:nvPr/>
          </p:nvSpPr>
          <p:spPr bwMode="auto">
            <a:xfrm>
              <a:off x="4523572" y="4078369"/>
              <a:ext cx="111628" cy="132029"/>
            </a:xfrm>
            <a:custGeom>
              <a:avLst/>
              <a:gdLst>
                <a:gd name="T0" fmla="*/ 57 w 113"/>
                <a:gd name="T1" fmla="*/ 66 h 133"/>
                <a:gd name="T2" fmla="*/ 85 w 113"/>
                <a:gd name="T3" fmla="*/ 44 h 133"/>
                <a:gd name="T4" fmla="*/ 85 w 113"/>
                <a:gd name="T5" fmla="*/ 43 h 133"/>
                <a:gd name="T6" fmla="*/ 57 w 113"/>
                <a:gd name="T7" fmla="*/ 21 h 133"/>
                <a:gd name="T8" fmla="*/ 23 w 113"/>
                <a:gd name="T9" fmla="*/ 21 h 133"/>
                <a:gd name="T10" fmla="*/ 23 w 113"/>
                <a:gd name="T11" fmla="*/ 66 h 133"/>
                <a:gd name="T12" fmla="*/ 57 w 113"/>
                <a:gd name="T13" fmla="*/ 66 h 133"/>
                <a:gd name="T14" fmla="*/ 0 w 113"/>
                <a:gd name="T15" fmla="*/ 0 h 133"/>
                <a:gd name="T16" fmla="*/ 59 w 113"/>
                <a:gd name="T17" fmla="*/ 0 h 133"/>
                <a:gd name="T18" fmla="*/ 98 w 113"/>
                <a:gd name="T19" fmla="*/ 13 h 133"/>
                <a:gd name="T20" fmla="*/ 109 w 113"/>
                <a:gd name="T21" fmla="*/ 42 h 133"/>
                <a:gd name="T22" fmla="*/ 109 w 113"/>
                <a:gd name="T23" fmla="*/ 42 h 133"/>
                <a:gd name="T24" fmla="*/ 77 w 113"/>
                <a:gd name="T25" fmla="*/ 83 h 133"/>
                <a:gd name="T26" fmla="*/ 113 w 113"/>
                <a:gd name="T27" fmla="*/ 133 h 133"/>
                <a:gd name="T28" fmla="*/ 85 w 113"/>
                <a:gd name="T29" fmla="*/ 133 h 133"/>
                <a:gd name="T30" fmla="*/ 52 w 113"/>
                <a:gd name="T31" fmla="*/ 87 h 133"/>
                <a:gd name="T32" fmla="*/ 23 w 113"/>
                <a:gd name="T33" fmla="*/ 87 h 133"/>
                <a:gd name="T34" fmla="*/ 23 w 113"/>
                <a:gd name="T35" fmla="*/ 133 h 133"/>
                <a:gd name="T36" fmla="*/ 0 w 113"/>
                <a:gd name="T37" fmla="*/ 133 h 133"/>
                <a:gd name="T38" fmla="*/ 0 w 113"/>
                <a:gd name="T39"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3" h="133">
                  <a:moveTo>
                    <a:pt x="57" y="66"/>
                  </a:moveTo>
                  <a:cubicBezTo>
                    <a:pt x="74" y="66"/>
                    <a:pt x="85" y="57"/>
                    <a:pt x="85" y="44"/>
                  </a:cubicBezTo>
                  <a:cubicBezTo>
                    <a:pt x="85" y="43"/>
                    <a:pt x="85" y="43"/>
                    <a:pt x="85" y="43"/>
                  </a:cubicBezTo>
                  <a:cubicBezTo>
                    <a:pt x="85" y="29"/>
                    <a:pt x="74" y="21"/>
                    <a:pt x="57" y="21"/>
                  </a:cubicBezTo>
                  <a:cubicBezTo>
                    <a:pt x="23" y="21"/>
                    <a:pt x="23" y="21"/>
                    <a:pt x="23" y="21"/>
                  </a:cubicBezTo>
                  <a:cubicBezTo>
                    <a:pt x="23" y="66"/>
                    <a:pt x="23" y="66"/>
                    <a:pt x="23" y="66"/>
                  </a:cubicBezTo>
                  <a:lnTo>
                    <a:pt x="57" y="66"/>
                  </a:lnTo>
                  <a:close/>
                  <a:moveTo>
                    <a:pt x="0" y="0"/>
                  </a:moveTo>
                  <a:cubicBezTo>
                    <a:pt x="59" y="0"/>
                    <a:pt x="59" y="0"/>
                    <a:pt x="59" y="0"/>
                  </a:cubicBezTo>
                  <a:cubicBezTo>
                    <a:pt x="76" y="0"/>
                    <a:pt x="89" y="5"/>
                    <a:pt x="98" y="13"/>
                  </a:cubicBezTo>
                  <a:cubicBezTo>
                    <a:pt x="105" y="20"/>
                    <a:pt x="109" y="30"/>
                    <a:pt x="109" y="42"/>
                  </a:cubicBezTo>
                  <a:cubicBezTo>
                    <a:pt x="109" y="42"/>
                    <a:pt x="109" y="42"/>
                    <a:pt x="109" y="42"/>
                  </a:cubicBezTo>
                  <a:cubicBezTo>
                    <a:pt x="109" y="64"/>
                    <a:pt x="95" y="77"/>
                    <a:pt x="77" y="83"/>
                  </a:cubicBezTo>
                  <a:cubicBezTo>
                    <a:pt x="113" y="133"/>
                    <a:pt x="113" y="133"/>
                    <a:pt x="113" y="133"/>
                  </a:cubicBezTo>
                  <a:cubicBezTo>
                    <a:pt x="85" y="133"/>
                    <a:pt x="85" y="133"/>
                    <a:pt x="85" y="133"/>
                  </a:cubicBezTo>
                  <a:cubicBezTo>
                    <a:pt x="52" y="87"/>
                    <a:pt x="52" y="87"/>
                    <a:pt x="52" y="87"/>
                  </a:cubicBezTo>
                  <a:cubicBezTo>
                    <a:pt x="23" y="87"/>
                    <a:pt x="23" y="87"/>
                    <a:pt x="23" y="87"/>
                  </a:cubicBezTo>
                  <a:cubicBezTo>
                    <a:pt x="23" y="133"/>
                    <a:pt x="23" y="133"/>
                    <a:pt x="23" y="133"/>
                  </a:cubicBezTo>
                  <a:cubicBezTo>
                    <a:pt x="0" y="133"/>
                    <a:pt x="0" y="133"/>
                    <a:pt x="0" y="133"/>
                  </a:cubicBez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4" name="Freeform 27">
              <a:extLst>
                <a:ext uri="{FF2B5EF4-FFF2-40B4-BE49-F238E27FC236}">
                  <a16:creationId xmlns:a16="http://schemas.microsoft.com/office/drawing/2014/main" id="{1D109B4E-5555-5744-A62F-036199B14AEA}"/>
                </a:ext>
              </a:extLst>
            </p:cNvPr>
            <p:cNvSpPr>
              <a:spLocks/>
            </p:cNvSpPr>
            <p:nvPr/>
          </p:nvSpPr>
          <p:spPr bwMode="auto">
            <a:xfrm>
              <a:off x="4651067" y="4078369"/>
              <a:ext cx="115594" cy="132029"/>
            </a:xfrm>
            <a:custGeom>
              <a:avLst/>
              <a:gdLst>
                <a:gd name="T0" fmla="*/ 0 w 204"/>
                <a:gd name="T1" fmla="*/ 0 h 233"/>
                <a:gd name="T2" fmla="*/ 38 w 204"/>
                <a:gd name="T3" fmla="*/ 0 h 233"/>
                <a:gd name="T4" fmla="*/ 162 w 204"/>
                <a:gd name="T5" fmla="*/ 161 h 233"/>
                <a:gd name="T6" fmla="*/ 162 w 204"/>
                <a:gd name="T7" fmla="*/ 0 h 233"/>
                <a:gd name="T8" fmla="*/ 204 w 204"/>
                <a:gd name="T9" fmla="*/ 0 h 233"/>
                <a:gd name="T10" fmla="*/ 204 w 204"/>
                <a:gd name="T11" fmla="*/ 233 h 233"/>
                <a:gd name="T12" fmla="*/ 169 w 204"/>
                <a:gd name="T13" fmla="*/ 233 h 233"/>
                <a:gd name="T14" fmla="*/ 40 w 204"/>
                <a:gd name="T15" fmla="*/ 67 h 233"/>
                <a:gd name="T16" fmla="*/ 40 w 204"/>
                <a:gd name="T17" fmla="*/ 233 h 233"/>
                <a:gd name="T18" fmla="*/ 0 w 204"/>
                <a:gd name="T19" fmla="*/ 233 h 233"/>
                <a:gd name="T20" fmla="*/ 0 w 204"/>
                <a:gd name="T21"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233">
                  <a:moveTo>
                    <a:pt x="0" y="0"/>
                  </a:moveTo>
                  <a:lnTo>
                    <a:pt x="38" y="0"/>
                  </a:lnTo>
                  <a:lnTo>
                    <a:pt x="162" y="161"/>
                  </a:lnTo>
                  <a:lnTo>
                    <a:pt x="162" y="0"/>
                  </a:lnTo>
                  <a:lnTo>
                    <a:pt x="204" y="0"/>
                  </a:lnTo>
                  <a:lnTo>
                    <a:pt x="204" y="233"/>
                  </a:lnTo>
                  <a:lnTo>
                    <a:pt x="169" y="233"/>
                  </a:lnTo>
                  <a:lnTo>
                    <a:pt x="40" y="67"/>
                  </a:lnTo>
                  <a:lnTo>
                    <a:pt x="40" y="233"/>
                  </a:lnTo>
                  <a:lnTo>
                    <a:pt x="0" y="233"/>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5" name="Freeform 28">
              <a:extLst>
                <a:ext uri="{FF2B5EF4-FFF2-40B4-BE49-F238E27FC236}">
                  <a16:creationId xmlns:a16="http://schemas.microsoft.com/office/drawing/2014/main" id="{3E47AD5D-C255-A049-B3DE-2282F80A1050}"/>
                </a:ext>
              </a:extLst>
            </p:cNvPr>
            <p:cNvSpPr>
              <a:spLocks/>
            </p:cNvSpPr>
            <p:nvPr/>
          </p:nvSpPr>
          <p:spPr bwMode="auto">
            <a:xfrm>
              <a:off x="4789325" y="4078369"/>
              <a:ext cx="130893" cy="132029"/>
            </a:xfrm>
            <a:custGeom>
              <a:avLst/>
              <a:gdLst>
                <a:gd name="T0" fmla="*/ 0 w 231"/>
                <a:gd name="T1" fmla="*/ 0 h 233"/>
                <a:gd name="T2" fmla="*/ 44 w 231"/>
                <a:gd name="T3" fmla="*/ 0 h 233"/>
                <a:gd name="T4" fmla="*/ 115 w 231"/>
                <a:gd name="T5" fmla="*/ 110 h 233"/>
                <a:gd name="T6" fmla="*/ 187 w 231"/>
                <a:gd name="T7" fmla="*/ 0 h 233"/>
                <a:gd name="T8" fmla="*/ 231 w 231"/>
                <a:gd name="T9" fmla="*/ 0 h 233"/>
                <a:gd name="T10" fmla="*/ 231 w 231"/>
                <a:gd name="T11" fmla="*/ 233 h 233"/>
                <a:gd name="T12" fmla="*/ 189 w 231"/>
                <a:gd name="T13" fmla="*/ 233 h 233"/>
                <a:gd name="T14" fmla="*/ 189 w 231"/>
                <a:gd name="T15" fmla="*/ 65 h 233"/>
                <a:gd name="T16" fmla="*/ 115 w 231"/>
                <a:gd name="T17" fmla="*/ 175 h 233"/>
                <a:gd name="T18" fmla="*/ 114 w 231"/>
                <a:gd name="T19" fmla="*/ 175 h 233"/>
                <a:gd name="T20" fmla="*/ 40 w 231"/>
                <a:gd name="T21" fmla="*/ 67 h 233"/>
                <a:gd name="T22" fmla="*/ 40 w 231"/>
                <a:gd name="T23" fmla="*/ 233 h 233"/>
                <a:gd name="T24" fmla="*/ 0 w 231"/>
                <a:gd name="T25" fmla="*/ 233 h 233"/>
                <a:gd name="T26" fmla="*/ 0 w 231"/>
                <a:gd name="T27"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1" h="233">
                  <a:moveTo>
                    <a:pt x="0" y="0"/>
                  </a:moveTo>
                  <a:lnTo>
                    <a:pt x="44" y="0"/>
                  </a:lnTo>
                  <a:lnTo>
                    <a:pt x="115" y="110"/>
                  </a:lnTo>
                  <a:lnTo>
                    <a:pt x="187" y="0"/>
                  </a:lnTo>
                  <a:lnTo>
                    <a:pt x="231" y="0"/>
                  </a:lnTo>
                  <a:lnTo>
                    <a:pt x="231" y="233"/>
                  </a:lnTo>
                  <a:lnTo>
                    <a:pt x="189" y="233"/>
                  </a:lnTo>
                  <a:lnTo>
                    <a:pt x="189" y="65"/>
                  </a:lnTo>
                  <a:lnTo>
                    <a:pt x="115" y="175"/>
                  </a:lnTo>
                  <a:lnTo>
                    <a:pt x="114" y="175"/>
                  </a:lnTo>
                  <a:lnTo>
                    <a:pt x="40" y="67"/>
                  </a:lnTo>
                  <a:lnTo>
                    <a:pt x="40" y="233"/>
                  </a:lnTo>
                  <a:lnTo>
                    <a:pt x="0" y="233"/>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6" name="Freeform 29">
              <a:extLst>
                <a:ext uri="{FF2B5EF4-FFF2-40B4-BE49-F238E27FC236}">
                  <a16:creationId xmlns:a16="http://schemas.microsoft.com/office/drawing/2014/main" id="{33F319D9-EB38-C04B-9B8C-45B4405B1960}"/>
                </a:ext>
              </a:extLst>
            </p:cNvPr>
            <p:cNvSpPr>
              <a:spLocks/>
            </p:cNvSpPr>
            <p:nvPr/>
          </p:nvSpPr>
          <p:spPr bwMode="auto">
            <a:xfrm>
              <a:off x="4941752" y="4078369"/>
              <a:ext cx="99162" cy="132029"/>
            </a:xfrm>
            <a:custGeom>
              <a:avLst/>
              <a:gdLst>
                <a:gd name="T0" fmla="*/ 0 w 175"/>
                <a:gd name="T1" fmla="*/ 0 h 233"/>
                <a:gd name="T2" fmla="*/ 173 w 175"/>
                <a:gd name="T3" fmla="*/ 0 h 233"/>
                <a:gd name="T4" fmla="*/ 173 w 175"/>
                <a:gd name="T5" fmla="*/ 37 h 233"/>
                <a:gd name="T6" fmla="*/ 40 w 175"/>
                <a:gd name="T7" fmla="*/ 37 h 233"/>
                <a:gd name="T8" fmla="*/ 40 w 175"/>
                <a:gd name="T9" fmla="*/ 96 h 233"/>
                <a:gd name="T10" fmla="*/ 157 w 175"/>
                <a:gd name="T11" fmla="*/ 96 h 233"/>
                <a:gd name="T12" fmla="*/ 157 w 175"/>
                <a:gd name="T13" fmla="*/ 133 h 233"/>
                <a:gd name="T14" fmla="*/ 40 w 175"/>
                <a:gd name="T15" fmla="*/ 133 h 233"/>
                <a:gd name="T16" fmla="*/ 40 w 175"/>
                <a:gd name="T17" fmla="*/ 196 h 233"/>
                <a:gd name="T18" fmla="*/ 175 w 175"/>
                <a:gd name="T19" fmla="*/ 196 h 233"/>
                <a:gd name="T20" fmla="*/ 175 w 175"/>
                <a:gd name="T21" fmla="*/ 233 h 233"/>
                <a:gd name="T22" fmla="*/ 0 w 175"/>
                <a:gd name="T23" fmla="*/ 233 h 233"/>
                <a:gd name="T24" fmla="*/ 0 w 175"/>
                <a:gd name="T25"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5" h="233">
                  <a:moveTo>
                    <a:pt x="0" y="0"/>
                  </a:moveTo>
                  <a:lnTo>
                    <a:pt x="173" y="0"/>
                  </a:lnTo>
                  <a:lnTo>
                    <a:pt x="173" y="37"/>
                  </a:lnTo>
                  <a:lnTo>
                    <a:pt x="40" y="37"/>
                  </a:lnTo>
                  <a:lnTo>
                    <a:pt x="40" y="96"/>
                  </a:lnTo>
                  <a:lnTo>
                    <a:pt x="157" y="96"/>
                  </a:lnTo>
                  <a:lnTo>
                    <a:pt x="157" y="133"/>
                  </a:lnTo>
                  <a:lnTo>
                    <a:pt x="40" y="133"/>
                  </a:lnTo>
                  <a:lnTo>
                    <a:pt x="40" y="196"/>
                  </a:lnTo>
                  <a:lnTo>
                    <a:pt x="175" y="196"/>
                  </a:lnTo>
                  <a:lnTo>
                    <a:pt x="175" y="233"/>
                  </a:lnTo>
                  <a:lnTo>
                    <a:pt x="0" y="233"/>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7" name="Freeform 30">
              <a:extLst>
                <a:ext uri="{FF2B5EF4-FFF2-40B4-BE49-F238E27FC236}">
                  <a16:creationId xmlns:a16="http://schemas.microsoft.com/office/drawing/2014/main" id="{60817A10-46F0-A749-8BE6-8F26A46FC9BF}"/>
                </a:ext>
              </a:extLst>
            </p:cNvPr>
            <p:cNvSpPr>
              <a:spLocks/>
            </p:cNvSpPr>
            <p:nvPr/>
          </p:nvSpPr>
          <p:spPr bwMode="auto">
            <a:xfrm>
              <a:off x="5063581" y="4078369"/>
              <a:ext cx="115027" cy="132029"/>
            </a:xfrm>
            <a:custGeom>
              <a:avLst/>
              <a:gdLst>
                <a:gd name="T0" fmla="*/ 0 w 203"/>
                <a:gd name="T1" fmla="*/ 0 h 233"/>
                <a:gd name="T2" fmla="*/ 38 w 203"/>
                <a:gd name="T3" fmla="*/ 0 h 233"/>
                <a:gd name="T4" fmla="*/ 162 w 203"/>
                <a:gd name="T5" fmla="*/ 161 h 233"/>
                <a:gd name="T6" fmla="*/ 162 w 203"/>
                <a:gd name="T7" fmla="*/ 0 h 233"/>
                <a:gd name="T8" fmla="*/ 203 w 203"/>
                <a:gd name="T9" fmla="*/ 0 h 233"/>
                <a:gd name="T10" fmla="*/ 203 w 203"/>
                <a:gd name="T11" fmla="*/ 233 h 233"/>
                <a:gd name="T12" fmla="*/ 169 w 203"/>
                <a:gd name="T13" fmla="*/ 233 h 233"/>
                <a:gd name="T14" fmla="*/ 40 w 203"/>
                <a:gd name="T15" fmla="*/ 67 h 233"/>
                <a:gd name="T16" fmla="*/ 40 w 203"/>
                <a:gd name="T17" fmla="*/ 233 h 233"/>
                <a:gd name="T18" fmla="*/ 0 w 203"/>
                <a:gd name="T19" fmla="*/ 233 h 233"/>
                <a:gd name="T20" fmla="*/ 0 w 203"/>
                <a:gd name="T21"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233">
                  <a:moveTo>
                    <a:pt x="0" y="0"/>
                  </a:moveTo>
                  <a:lnTo>
                    <a:pt x="38" y="0"/>
                  </a:lnTo>
                  <a:lnTo>
                    <a:pt x="162" y="161"/>
                  </a:lnTo>
                  <a:lnTo>
                    <a:pt x="162" y="0"/>
                  </a:lnTo>
                  <a:lnTo>
                    <a:pt x="203" y="0"/>
                  </a:lnTo>
                  <a:lnTo>
                    <a:pt x="203" y="233"/>
                  </a:lnTo>
                  <a:lnTo>
                    <a:pt x="169" y="233"/>
                  </a:lnTo>
                  <a:lnTo>
                    <a:pt x="40" y="67"/>
                  </a:lnTo>
                  <a:lnTo>
                    <a:pt x="40" y="233"/>
                  </a:lnTo>
                  <a:lnTo>
                    <a:pt x="0" y="233"/>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8" name="Freeform 31">
              <a:extLst>
                <a:ext uri="{FF2B5EF4-FFF2-40B4-BE49-F238E27FC236}">
                  <a16:creationId xmlns:a16="http://schemas.microsoft.com/office/drawing/2014/main" id="{08ADF693-AE1A-FA42-94F6-925625DACA12}"/>
                </a:ext>
              </a:extLst>
            </p:cNvPr>
            <p:cNvSpPr>
              <a:spLocks/>
            </p:cNvSpPr>
            <p:nvPr/>
          </p:nvSpPr>
          <p:spPr bwMode="auto">
            <a:xfrm>
              <a:off x="5197310" y="4078369"/>
              <a:ext cx="106527" cy="132029"/>
            </a:xfrm>
            <a:custGeom>
              <a:avLst/>
              <a:gdLst>
                <a:gd name="T0" fmla="*/ 73 w 188"/>
                <a:gd name="T1" fmla="*/ 37 h 233"/>
                <a:gd name="T2" fmla="*/ 0 w 188"/>
                <a:gd name="T3" fmla="*/ 37 h 233"/>
                <a:gd name="T4" fmla="*/ 0 w 188"/>
                <a:gd name="T5" fmla="*/ 0 h 233"/>
                <a:gd name="T6" fmla="*/ 188 w 188"/>
                <a:gd name="T7" fmla="*/ 0 h 233"/>
                <a:gd name="T8" fmla="*/ 188 w 188"/>
                <a:gd name="T9" fmla="*/ 37 h 233"/>
                <a:gd name="T10" fmla="*/ 115 w 188"/>
                <a:gd name="T11" fmla="*/ 37 h 233"/>
                <a:gd name="T12" fmla="*/ 115 w 188"/>
                <a:gd name="T13" fmla="*/ 233 h 233"/>
                <a:gd name="T14" fmla="*/ 73 w 188"/>
                <a:gd name="T15" fmla="*/ 233 h 233"/>
                <a:gd name="T16" fmla="*/ 73 w 188"/>
                <a:gd name="T17" fmla="*/ 37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233">
                  <a:moveTo>
                    <a:pt x="73" y="37"/>
                  </a:moveTo>
                  <a:lnTo>
                    <a:pt x="0" y="37"/>
                  </a:lnTo>
                  <a:lnTo>
                    <a:pt x="0" y="0"/>
                  </a:lnTo>
                  <a:lnTo>
                    <a:pt x="188" y="0"/>
                  </a:lnTo>
                  <a:lnTo>
                    <a:pt x="188" y="37"/>
                  </a:lnTo>
                  <a:lnTo>
                    <a:pt x="115" y="37"/>
                  </a:lnTo>
                  <a:lnTo>
                    <a:pt x="115" y="233"/>
                  </a:lnTo>
                  <a:lnTo>
                    <a:pt x="73" y="233"/>
                  </a:lnTo>
                  <a:lnTo>
                    <a:pt x="73" y="3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119" name="Group 118">
            <a:extLst>
              <a:ext uri="{FF2B5EF4-FFF2-40B4-BE49-F238E27FC236}">
                <a16:creationId xmlns:a16="http://schemas.microsoft.com/office/drawing/2014/main" id="{D8FBFE7C-AE93-9145-BDAC-94FB5E50C62B}"/>
              </a:ext>
            </a:extLst>
          </p:cNvPr>
          <p:cNvGrpSpPr/>
          <p:nvPr/>
        </p:nvGrpSpPr>
        <p:grpSpPr>
          <a:xfrm>
            <a:off x="5436622" y="3577459"/>
            <a:ext cx="1348605" cy="446513"/>
            <a:chOff x="3992064" y="3577459"/>
            <a:chExt cx="1348605" cy="446513"/>
          </a:xfrm>
          <a:effectLst>
            <a:reflection endPos="0" dir="5400000" sy="-100000" algn="bl" rotWithShape="0"/>
          </a:effectLst>
        </p:grpSpPr>
        <p:sp>
          <p:nvSpPr>
            <p:cNvPr id="120" name="Freeform 21">
              <a:extLst>
                <a:ext uri="{FF2B5EF4-FFF2-40B4-BE49-F238E27FC236}">
                  <a16:creationId xmlns:a16="http://schemas.microsoft.com/office/drawing/2014/main" id="{EE710DF6-96B5-FF4F-85E0-C7216A15C455}"/>
                </a:ext>
              </a:extLst>
            </p:cNvPr>
            <p:cNvSpPr>
              <a:spLocks noEditPoints="1"/>
            </p:cNvSpPr>
            <p:nvPr/>
          </p:nvSpPr>
          <p:spPr bwMode="auto">
            <a:xfrm>
              <a:off x="3992064" y="3585959"/>
              <a:ext cx="1348605" cy="428380"/>
            </a:xfrm>
            <a:custGeom>
              <a:avLst/>
              <a:gdLst>
                <a:gd name="T0" fmla="*/ 2205 w 2380"/>
                <a:gd name="T1" fmla="*/ 0 h 756"/>
                <a:gd name="T2" fmla="*/ 2094 w 2380"/>
                <a:gd name="T3" fmla="*/ 483 h 756"/>
                <a:gd name="T4" fmla="*/ 1977 w 2380"/>
                <a:gd name="T5" fmla="*/ 0 h 756"/>
                <a:gd name="T6" fmla="*/ 1814 w 2380"/>
                <a:gd name="T7" fmla="*/ 0 h 756"/>
                <a:gd name="T8" fmla="*/ 1694 w 2380"/>
                <a:gd name="T9" fmla="*/ 478 h 756"/>
                <a:gd name="T10" fmla="*/ 1585 w 2380"/>
                <a:gd name="T11" fmla="*/ 0 h 756"/>
                <a:gd name="T12" fmla="*/ 1409 w 2380"/>
                <a:gd name="T13" fmla="*/ 0 h 756"/>
                <a:gd name="T14" fmla="*/ 1605 w 2380"/>
                <a:gd name="T15" fmla="*/ 754 h 756"/>
                <a:gd name="T16" fmla="*/ 1779 w 2380"/>
                <a:gd name="T17" fmla="*/ 754 h 756"/>
                <a:gd name="T18" fmla="*/ 1893 w 2380"/>
                <a:gd name="T19" fmla="*/ 278 h 756"/>
                <a:gd name="T20" fmla="*/ 2010 w 2380"/>
                <a:gd name="T21" fmla="*/ 754 h 756"/>
                <a:gd name="T22" fmla="*/ 2181 w 2380"/>
                <a:gd name="T23" fmla="*/ 754 h 756"/>
                <a:gd name="T24" fmla="*/ 2183 w 2380"/>
                <a:gd name="T25" fmla="*/ 749 h 756"/>
                <a:gd name="T26" fmla="*/ 2380 w 2380"/>
                <a:gd name="T27" fmla="*/ 0 h 756"/>
                <a:gd name="T28" fmla="*/ 2205 w 2380"/>
                <a:gd name="T29" fmla="*/ 0 h 756"/>
                <a:gd name="T30" fmla="*/ 583 w 2380"/>
                <a:gd name="T31" fmla="*/ 483 h 756"/>
                <a:gd name="T32" fmla="*/ 173 w 2380"/>
                <a:gd name="T33" fmla="*/ 0 h 756"/>
                <a:gd name="T34" fmla="*/ 0 w 2380"/>
                <a:gd name="T35" fmla="*/ 0 h 756"/>
                <a:gd name="T36" fmla="*/ 0 w 2380"/>
                <a:gd name="T37" fmla="*/ 756 h 756"/>
                <a:gd name="T38" fmla="*/ 169 w 2380"/>
                <a:gd name="T39" fmla="*/ 756 h 756"/>
                <a:gd name="T40" fmla="*/ 169 w 2380"/>
                <a:gd name="T41" fmla="*/ 275 h 756"/>
                <a:gd name="T42" fmla="*/ 578 w 2380"/>
                <a:gd name="T43" fmla="*/ 756 h 756"/>
                <a:gd name="T44" fmla="*/ 752 w 2380"/>
                <a:gd name="T45" fmla="*/ 756 h 756"/>
                <a:gd name="T46" fmla="*/ 752 w 2380"/>
                <a:gd name="T47" fmla="*/ 0 h 756"/>
                <a:gd name="T48" fmla="*/ 583 w 2380"/>
                <a:gd name="T49" fmla="*/ 0 h 756"/>
                <a:gd name="T50" fmla="*/ 583 w 2380"/>
                <a:gd name="T51" fmla="*/ 483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80" h="756">
                  <a:moveTo>
                    <a:pt x="2205" y="0"/>
                  </a:moveTo>
                  <a:lnTo>
                    <a:pt x="2094" y="483"/>
                  </a:lnTo>
                  <a:lnTo>
                    <a:pt x="1977" y="0"/>
                  </a:lnTo>
                  <a:lnTo>
                    <a:pt x="1814" y="0"/>
                  </a:lnTo>
                  <a:lnTo>
                    <a:pt x="1694" y="478"/>
                  </a:lnTo>
                  <a:lnTo>
                    <a:pt x="1585" y="0"/>
                  </a:lnTo>
                  <a:lnTo>
                    <a:pt x="1409" y="0"/>
                  </a:lnTo>
                  <a:lnTo>
                    <a:pt x="1605" y="754"/>
                  </a:lnTo>
                  <a:lnTo>
                    <a:pt x="1779" y="754"/>
                  </a:lnTo>
                  <a:lnTo>
                    <a:pt x="1893" y="278"/>
                  </a:lnTo>
                  <a:lnTo>
                    <a:pt x="2010" y="754"/>
                  </a:lnTo>
                  <a:lnTo>
                    <a:pt x="2181" y="754"/>
                  </a:lnTo>
                  <a:lnTo>
                    <a:pt x="2183" y="749"/>
                  </a:lnTo>
                  <a:lnTo>
                    <a:pt x="2380" y="0"/>
                  </a:lnTo>
                  <a:lnTo>
                    <a:pt x="2205" y="0"/>
                  </a:lnTo>
                  <a:close/>
                  <a:moveTo>
                    <a:pt x="583" y="483"/>
                  </a:moveTo>
                  <a:lnTo>
                    <a:pt x="173" y="0"/>
                  </a:lnTo>
                  <a:lnTo>
                    <a:pt x="0" y="0"/>
                  </a:lnTo>
                  <a:lnTo>
                    <a:pt x="0" y="756"/>
                  </a:lnTo>
                  <a:lnTo>
                    <a:pt x="169" y="756"/>
                  </a:lnTo>
                  <a:lnTo>
                    <a:pt x="169" y="275"/>
                  </a:lnTo>
                  <a:lnTo>
                    <a:pt x="578" y="756"/>
                  </a:lnTo>
                  <a:lnTo>
                    <a:pt x="752" y="756"/>
                  </a:lnTo>
                  <a:lnTo>
                    <a:pt x="752" y="0"/>
                  </a:lnTo>
                  <a:lnTo>
                    <a:pt x="583" y="0"/>
                  </a:lnTo>
                  <a:lnTo>
                    <a:pt x="583" y="48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21" name="Freeform 32">
              <a:extLst>
                <a:ext uri="{FF2B5EF4-FFF2-40B4-BE49-F238E27FC236}">
                  <a16:creationId xmlns:a16="http://schemas.microsoft.com/office/drawing/2014/main" id="{D58497E6-722C-894E-86CD-DDF1201B3AF8}"/>
                </a:ext>
              </a:extLst>
            </p:cNvPr>
            <p:cNvSpPr>
              <a:spLocks/>
            </p:cNvSpPr>
            <p:nvPr/>
          </p:nvSpPr>
          <p:spPr bwMode="auto">
            <a:xfrm>
              <a:off x="4444243" y="3577459"/>
              <a:ext cx="343384" cy="446513"/>
            </a:xfrm>
            <a:custGeom>
              <a:avLst/>
              <a:gdLst>
                <a:gd name="T0" fmla="*/ 0 w 347"/>
                <a:gd name="T1" fmla="*/ 381 h 451"/>
                <a:gd name="T2" fmla="*/ 57 w 347"/>
                <a:gd name="T3" fmla="*/ 312 h 451"/>
                <a:gd name="T4" fmla="*/ 188 w 347"/>
                <a:gd name="T5" fmla="*/ 366 h 451"/>
                <a:gd name="T6" fmla="*/ 251 w 347"/>
                <a:gd name="T7" fmla="*/ 324 h 451"/>
                <a:gd name="T8" fmla="*/ 251 w 347"/>
                <a:gd name="T9" fmla="*/ 323 h 451"/>
                <a:gd name="T10" fmla="*/ 163 w 347"/>
                <a:gd name="T11" fmla="*/ 267 h 451"/>
                <a:gd name="T12" fmla="*/ 18 w 347"/>
                <a:gd name="T13" fmla="*/ 133 h 451"/>
                <a:gd name="T14" fmla="*/ 18 w 347"/>
                <a:gd name="T15" fmla="*/ 132 h 451"/>
                <a:gd name="T16" fmla="*/ 171 w 347"/>
                <a:gd name="T17" fmla="*/ 0 h 451"/>
                <a:gd name="T18" fmla="*/ 334 w 347"/>
                <a:gd name="T19" fmla="*/ 56 h 451"/>
                <a:gd name="T20" fmla="*/ 284 w 347"/>
                <a:gd name="T21" fmla="*/ 128 h 451"/>
                <a:gd name="T22" fmla="*/ 170 w 347"/>
                <a:gd name="T23" fmla="*/ 85 h 451"/>
                <a:gd name="T24" fmla="*/ 114 w 347"/>
                <a:gd name="T25" fmla="*/ 123 h 451"/>
                <a:gd name="T26" fmla="*/ 114 w 347"/>
                <a:gd name="T27" fmla="*/ 125 h 451"/>
                <a:gd name="T28" fmla="*/ 208 w 347"/>
                <a:gd name="T29" fmla="*/ 182 h 451"/>
                <a:gd name="T30" fmla="*/ 347 w 347"/>
                <a:gd name="T31" fmla="*/ 314 h 451"/>
                <a:gd name="T32" fmla="*/ 347 w 347"/>
                <a:gd name="T33" fmla="*/ 315 h 451"/>
                <a:gd name="T34" fmla="*/ 186 w 347"/>
                <a:gd name="T35" fmla="*/ 451 h 451"/>
                <a:gd name="T36" fmla="*/ 0 w 347"/>
                <a:gd name="T37" fmla="*/ 381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451">
                  <a:moveTo>
                    <a:pt x="0" y="381"/>
                  </a:moveTo>
                  <a:cubicBezTo>
                    <a:pt x="57" y="312"/>
                    <a:pt x="57" y="312"/>
                    <a:pt x="57" y="312"/>
                  </a:cubicBezTo>
                  <a:cubicBezTo>
                    <a:pt x="97" y="345"/>
                    <a:pt x="138" y="366"/>
                    <a:pt x="188" y="366"/>
                  </a:cubicBezTo>
                  <a:cubicBezTo>
                    <a:pt x="227" y="366"/>
                    <a:pt x="251" y="350"/>
                    <a:pt x="251" y="324"/>
                  </a:cubicBezTo>
                  <a:cubicBezTo>
                    <a:pt x="251" y="323"/>
                    <a:pt x="251" y="323"/>
                    <a:pt x="251" y="323"/>
                  </a:cubicBezTo>
                  <a:cubicBezTo>
                    <a:pt x="251" y="299"/>
                    <a:pt x="236" y="286"/>
                    <a:pt x="163" y="267"/>
                  </a:cubicBezTo>
                  <a:cubicBezTo>
                    <a:pt x="75" y="245"/>
                    <a:pt x="18" y="220"/>
                    <a:pt x="18" y="133"/>
                  </a:cubicBezTo>
                  <a:cubicBezTo>
                    <a:pt x="18" y="132"/>
                    <a:pt x="18" y="132"/>
                    <a:pt x="18" y="132"/>
                  </a:cubicBezTo>
                  <a:cubicBezTo>
                    <a:pt x="18" y="53"/>
                    <a:pt x="82" y="0"/>
                    <a:pt x="171" y="0"/>
                  </a:cubicBezTo>
                  <a:cubicBezTo>
                    <a:pt x="235" y="0"/>
                    <a:pt x="289" y="20"/>
                    <a:pt x="334" y="56"/>
                  </a:cubicBezTo>
                  <a:cubicBezTo>
                    <a:pt x="284" y="128"/>
                    <a:pt x="284" y="128"/>
                    <a:pt x="284" y="128"/>
                  </a:cubicBezTo>
                  <a:cubicBezTo>
                    <a:pt x="245" y="101"/>
                    <a:pt x="207" y="85"/>
                    <a:pt x="170" y="85"/>
                  </a:cubicBezTo>
                  <a:cubicBezTo>
                    <a:pt x="133" y="85"/>
                    <a:pt x="114" y="102"/>
                    <a:pt x="114" y="123"/>
                  </a:cubicBezTo>
                  <a:cubicBezTo>
                    <a:pt x="114" y="125"/>
                    <a:pt x="114" y="125"/>
                    <a:pt x="114" y="125"/>
                  </a:cubicBezTo>
                  <a:cubicBezTo>
                    <a:pt x="114" y="153"/>
                    <a:pt x="132" y="163"/>
                    <a:pt x="208" y="182"/>
                  </a:cubicBezTo>
                  <a:cubicBezTo>
                    <a:pt x="297" y="205"/>
                    <a:pt x="347" y="237"/>
                    <a:pt x="347" y="314"/>
                  </a:cubicBezTo>
                  <a:cubicBezTo>
                    <a:pt x="347" y="315"/>
                    <a:pt x="347" y="315"/>
                    <a:pt x="347" y="315"/>
                  </a:cubicBezTo>
                  <a:cubicBezTo>
                    <a:pt x="347" y="402"/>
                    <a:pt x="281" y="451"/>
                    <a:pt x="186" y="451"/>
                  </a:cubicBezTo>
                  <a:cubicBezTo>
                    <a:pt x="120" y="451"/>
                    <a:pt x="53" y="428"/>
                    <a:pt x="0" y="381"/>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122" name="Freeform 5">
            <a:extLst>
              <a:ext uri="{FF2B5EF4-FFF2-40B4-BE49-F238E27FC236}">
                <a16:creationId xmlns:a16="http://schemas.microsoft.com/office/drawing/2014/main" id="{D27DA3FC-23A0-3341-8A79-BF6AB53AB41E}"/>
              </a:ext>
            </a:extLst>
          </p:cNvPr>
          <p:cNvSpPr>
            <a:spLocks/>
          </p:cNvSpPr>
          <p:nvPr/>
        </p:nvSpPr>
        <p:spPr bwMode="auto">
          <a:xfrm>
            <a:off x="5648132" y="2772562"/>
            <a:ext cx="267757" cy="649213"/>
          </a:xfrm>
          <a:custGeom>
            <a:avLst/>
            <a:gdLst>
              <a:gd name="T0" fmla="*/ 575 w 575"/>
              <a:gd name="T1" fmla="*/ 1394 h 1394"/>
              <a:gd name="T2" fmla="*/ 396 w 575"/>
              <a:gd name="T3" fmla="*/ 1140 h 1394"/>
              <a:gd name="T4" fmla="*/ 339 w 575"/>
              <a:gd name="T5" fmla="*/ 723 h 1394"/>
              <a:gd name="T6" fmla="*/ 386 w 575"/>
              <a:gd name="T7" fmla="*/ 265 h 1394"/>
              <a:gd name="T8" fmla="*/ 387 w 575"/>
              <a:gd name="T9" fmla="*/ 262 h 1394"/>
              <a:gd name="T10" fmla="*/ 435 w 575"/>
              <a:gd name="T11" fmla="*/ 195 h 1394"/>
              <a:gd name="T12" fmla="*/ 98 w 575"/>
              <a:gd name="T13" fmla="*/ 15 h 1394"/>
              <a:gd name="T14" fmla="*/ 73 w 575"/>
              <a:gd name="T15" fmla="*/ 4 h 1394"/>
              <a:gd name="T16" fmla="*/ 72 w 575"/>
              <a:gd name="T17" fmla="*/ 4 h 1394"/>
              <a:gd name="T18" fmla="*/ 72 w 575"/>
              <a:gd name="T19" fmla="*/ 4 h 1394"/>
              <a:gd name="T20" fmla="*/ 54 w 575"/>
              <a:gd name="T21" fmla="*/ 0 h 1394"/>
              <a:gd name="T22" fmla="*/ 20 w 575"/>
              <a:gd name="T23" fmla="*/ 33 h 1394"/>
              <a:gd name="T24" fmla="*/ 11 w 575"/>
              <a:gd name="T25" fmla="*/ 122 h 1394"/>
              <a:gd name="T26" fmla="*/ 0 w 575"/>
              <a:gd name="T27" fmla="*/ 349 h 1394"/>
              <a:gd name="T28" fmla="*/ 163 w 575"/>
              <a:gd name="T29" fmla="*/ 1108 h 1394"/>
              <a:gd name="T30" fmla="*/ 575 w 575"/>
              <a:gd name="T31"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75" h="1394">
                <a:moveTo>
                  <a:pt x="575" y="1394"/>
                </a:moveTo>
                <a:cubicBezTo>
                  <a:pt x="511" y="1346"/>
                  <a:pt x="436" y="1265"/>
                  <a:pt x="396" y="1140"/>
                </a:cubicBezTo>
                <a:cubicBezTo>
                  <a:pt x="358" y="1021"/>
                  <a:pt x="339" y="881"/>
                  <a:pt x="339" y="723"/>
                </a:cubicBezTo>
                <a:cubicBezTo>
                  <a:pt x="339" y="504"/>
                  <a:pt x="375" y="317"/>
                  <a:pt x="386" y="265"/>
                </a:cubicBezTo>
                <a:cubicBezTo>
                  <a:pt x="387" y="264"/>
                  <a:pt x="387" y="263"/>
                  <a:pt x="387" y="262"/>
                </a:cubicBezTo>
                <a:cubicBezTo>
                  <a:pt x="393" y="232"/>
                  <a:pt x="411" y="208"/>
                  <a:pt x="435" y="195"/>
                </a:cubicBezTo>
                <a:cubicBezTo>
                  <a:pt x="269" y="89"/>
                  <a:pt x="126" y="26"/>
                  <a:pt x="98" y="15"/>
                </a:cubicBezTo>
                <a:cubicBezTo>
                  <a:pt x="82" y="7"/>
                  <a:pt x="73" y="4"/>
                  <a:pt x="73" y="4"/>
                </a:cubicBezTo>
                <a:cubicBezTo>
                  <a:pt x="72" y="4"/>
                  <a:pt x="72" y="4"/>
                  <a:pt x="72" y="4"/>
                </a:cubicBezTo>
                <a:cubicBezTo>
                  <a:pt x="72" y="4"/>
                  <a:pt x="72" y="4"/>
                  <a:pt x="72" y="4"/>
                </a:cubicBezTo>
                <a:cubicBezTo>
                  <a:pt x="66" y="1"/>
                  <a:pt x="60" y="0"/>
                  <a:pt x="54" y="0"/>
                </a:cubicBezTo>
                <a:cubicBezTo>
                  <a:pt x="35" y="0"/>
                  <a:pt x="24" y="11"/>
                  <a:pt x="20" y="33"/>
                </a:cubicBezTo>
                <a:cubicBezTo>
                  <a:pt x="20" y="33"/>
                  <a:pt x="16" y="66"/>
                  <a:pt x="11" y="122"/>
                </a:cubicBezTo>
                <a:cubicBezTo>
                  <a:pt x="6" y="173"/>
                  <a:pt x="0" y="253"/>
                  <a:pt x="0" y="349"/>
                </a:cubicBezTo>
                <a:cubicBezTo>
                  <a:pt x="0" y="565"/>
                  <a:pt x="28" y="872"/>
                  <a:pt x="163" y="1108"/>
                </a:cubicBezTo>
                <a:cubicBezTo>
                  <a:pt x="266" y="1287"/>
                  <a:pt x="412" y="1389"/>
                  <a:pt x="575" y="1394"/>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3" name="Freeform 6">
            <a:extLst>
              <a:ext uri="{FF2B5EF4-FFF2-40B4-BE49-F238E27FC236}">
                <a16:creationId xmlns:a16="http://schemas.microsoft.com/office/drawing/2014/main" id="{51303D9B-24C4-C14C-83E8-17BF26E46B44}"/>
              </a:ext>
            </a:extLst>
          </p:cNvPr>
          <p:cNvSpPr>
            <a:spLocks/>
          </p:cNvSpPr>
          <p:nvPr/>
        </p:nvSpPr>
        <p:spPr bwMode="auto">
          <a:xfrm>
            <a:off x="6083975" y="2889952"/>
            <a:ext cx="277355" cy="546835"/>
          </a:xfrm>
          <a:custGeom>
            <a:avLst/>
            <a:gdLst>
              <a:gd name="T0" fmla="*/ 174 w 596"/>
              <a:gd name="T1" fmla="*/ 1174 h 1174"/>
              <a:gd name="T2" fmla="*/ 175 w 596"/>
              <a:gd name="T3" fmla="*/ 1174 h 1174"/>
              <a:gd name="T4" fmla="*/ 543 w 596"/>
              <a:gd name="T5" fmla="*/ 869 h 1174"/>
              <a:gd name="T6" fmla="*/ 596 w 596"/>
              <a:gd name="T7" fmla="*/ 471 h 1174"/>
              <a:gd name="T8" fmla="*/ 557 w 596"/>
              <a:gd name="T9" fmla="*/ 59 h 1174"/>
              <a:gd name="T10" fmla="*/ 550 w 596"/>
              <a:gd name="T11" fmla="*/ 24 h 1174"/>
              <a:gd name="T12" fmla="*/ 532 w 596"/>
              <a:gd name="T13" fmla="*/ 0 h 1174"/>
              <a:gd name="T14" fmla="*/ 518 w 596"/>
              <a:gd name="T15" fmla="*/ 6 h 1174"/>
              <a:gd name="T16" fmla="*/ 503 w 596"/>
              <a:gd name="T17" fmla="*/ 18 h 1174"/>
              <a:gd name="T18" fmla="*/ 462 w 596"/>
              <a:gd name="T19" fmla="*/ 54 h 1174"/>
              <a:gd name="T20" fmla="*/ 327 w 596"/>
              <a:gd name="T21" fmla="*/ 188 h 1174"/>
              <a:gd name="T22" fmla="*/ 51 w 596"/>
              <a:gd name="T23" fmla="*/ 646 h 1174"/>
              <a:gd name="T24" fmla="*/ 0 w 596"/>
              <a:gd name="T25" fmla="*/ 932 h 1174"/>
              <a:gd name="T26" fmla="*/ 28 w 596"/>
              <a:gd name="T27" fmla="*/ 1080 h 1174"/>
              <a:gd name="T28" fmla="*/ 112 w 596"/>
              <a:gd name="T29" fmla="*/ 1163 h 1174"/>
              <a:gd name="T30" fmla="*/ 174 w 596"/>
              <a:gd name="T31" fmla="*/ 1174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96" h="1174">
                <a:moveTo>
                  <a:pt x="174" y="1174"/>
                </a:moveTo>
                <a:cubicBezTo>
                  <a:pt x="175" y="1174"/>
                  <a:pt x="175" y="1174"/>
                  <a:pt x="175" y="1174"/>
                </a:cubicBezTo>
                <a:cubicBezTo>
                  <a:pt x="288" y="1174"/>
                  <a:pt x="478" y="1079"/>
                  <a:pt x="543" y="869"/>
                </a:cubicBezTo>
                <a:cubicBezTo>
                  <a:pt x="578" y="755"/>
                  <a:pt x="596" y="621"/>
                  <a:pt x="596" y="471"/>
                </a:cubicBezTo>
                <a:cubicBezTo>
                  <a:pt x="596" y="284"/>
                  <a:pt x="569" y="121"/>
                  <a:pt x="557" y="59"/>
                </a:cubicBezTo>
                <a:cubicBezTo>
                  <a:pt x="553" y="37"/>
                  <a:pt x="550" y="24"/>
                  <a:pt x="550" y="24"/>
                </a:cubicBezTo>
                <a:cubicBezTo>
                  <a:pt x="547" y="13"/>
                  <a:pt x="542" y="0"/>
                  <a:pt x="532" y="0"/>
                </a:cubicBezTo>
                <a:cubicBezTo>
                  <a:pt x="528" y="0"/>
                  <a:pt x="523" y="2"/>
                  <a:pt x="518" y="6"/>
                </a:cubicBezTo>
                <a:cubicBezTo>
                  <a:pt x="518" y="6"/>
                  <a:pt x="513" y="10"/>
                  <a:pt x="503" y="18"/>
                </a:cubicBezTo>
                <a:cubicBezTo>
                  <a:pt x="494" y="26"/>
                  <a:pt x="481" y="37"/>
                  <a:pt x="462" y="54"/>
                </a:cubicBezTo>
                <a:cubicBezTo>
                  <a:pt x="437" y="76"/>
                  <a:pt x="386" y="123"/>
                  <a:pt x="327" y="188"/>
                </a:cubicBezTo>
                <a:cubicBezTo>
                  <a:pt x="234" y="292"/>
                  <a:pt x="110" y="456"/>
                  <a:pt x="51" y="646"/>
                </a:cubicBezTo>
                <a:cubicBezTo>
                  <a:pt x="17" y="757"/>
                  <a:pt x="0" y="853"/>
                  <a:pt x="0" y="932"/>
                </a:cubicBezTo>
                <a:cubicBezTo>
                  <a:pt x="0" y="991"/>
                  <a:pt x="9" y="1040"/>
                  <a:pt x="28" y="1080"/>
                </a:cubicBezTo>
                <a:cubicBezTo>
                  <a:pt x="46" y="1118"/>
                  <a:pt x="74" y="1145"/>
                  <a:pt x="112" y="1163"/>
                </a:cubicBezTo>
                <a:cubicBezTo>
                  <a:pt x="128" y="1170"/>
                  <a:pt x="149" y="1174"/>
                  <a:pt x="174" y="1174"/>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 name="Freeform 7">
            <a:extLst>
              <a:ext uri="{FF2B5EF4-FFF2-40B4-BE49-F238E27FC236}">
                <a16:creationId xmlns:a16="http://schemas.microsoft.com/office/drawing/2014/main" id="{F652FEAB-BCB5-5944-859D-0A1F6B026839}"/>
              </a:ext>
            </a:extLst>
          </p:cNvPr>
          <p:cNvSpPr>
            <a:spLocks/>
          </p:cNvSpPr>
          <p:nvPr/>
        </p:nvSpPr>
        <p:spPr bwMode="auto">
          <a:xfrm>
            <a:off x="5836152" y="2889952"/>
            <a:ext cx="249546" cy="546835"/>
          </a:xfrm>
          <a:custGeom>
            <a:avLst/>
            <a:gdLst>
              <a:gd name="T0" fmla="*/ 532 w 536"/>
              <a:gd name="T1" fmla="*/ 596 h 1174"/>
              <a:gd name="T2" fmla="*/ 536 w 536"/>
              <a:gd name="T3" fmla="*/ 583 h 1174"/>
              <a:gd name="T4" fmla="*/ 95 w 536"/>
              <a:gd name="T5" fmla="*/ 18 h 1174"/>
              <a:gd name="T6" fmla="*/ 80 w 536"/>
              <a:gd name="T7" fmla="*/ 6 h 1174"/>
              <a:gd name="T8" fmla="*/ 65 w 536"/>
              <a:gd name="T9" fmla="*/ 0 h 1174"/>
              <a:gd name="T10" fmla="*/ 46 w 536"/>
              <a:gd name="T11" fmla="*/ 25 h 1174"/>
              <a:gd name="T12" fmla="*/ 39 w 536"/>
              <a:gd name="T13" fmla="*/ 59 h 1174"/>
              <a:gd name="T14" fmla="*/ 23 w 536"/>
              <a:gd name="T15" fmla="*/ 156 h 1174"/>
              <a:gd name="T16" fmla="*/ 0 w 536"/>
              <a:gd name="T17" fmla="*/ 471 h 1174"/>
              <a:gd name="T18" fmla="*/ 53 w 536"/>
              <a:gd name="T19" fmla="*/ 868 h 1174"/>
              <a:gd name="T20" fmla="*/ 430 w 536"/>
              <a:gd name="T21" fmla="*/ 1174 h 1174"/>
              <a:gd name="T22" fmla="*/ 432 w 536"/>
              <a:gd name="T23" fmla="*/ 1174 h 1174"/>
              <a:gd name="T24" fmla="*/ 496 w 536"/>
              <a:gd name="T25" fmla="*/ 1162 h 1174"/>
              <a:gd name="T26" fmla="*/ 525 w 536"/>
              <a:gd name="T27" fmla="*/ 1147 h 1174"/>
              <a:gd name="T28" fmla="*/ 502 w 536"/>
              <a:gd name="T29" fmla="*/ 1108 h 1174"/>
              <a:gd name="T30" fmla="*/ 467 w 536"/>
              <a:gd name="T31" fmla="*/ 932 h 1174"/>
              <a:gd name="T32" fmla="*/ 521 w 536"/>
              <a:gd name="T33" fmla="*/ 627 h 1174"/>
              <a:gd name="T34" fmla="*/ 532 w 536"/>
              <a:gd name="T35" fmla="*/ 596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36" h="1174">
                <a:moveTo>
                  <a:pt x="532" y="596"/>
                </a:moveTo>
                <a:cubicBezTo>
                  <a:pt x="533" y="592"/>
                  <a:pt x="534" y="588"/>
                  <a:pt x="536" y="583"/>
                </a:cubicBezTo>
                <a:cubicBezTo>
                  <a:pt x="412" y="276"/>
                  <a:pt x="128" y="44"/>
                  <a:pt x="95" y="18"/>
                </a:cubicBezTo>
                <a:cubicBezTo>
                  <a:pt x="85" y="10"/>
                  <a:pt x="80" y="6"/>
                  <a:pt x="80" y="6"/>
                </a:cubicBezTo>
                <a:cubicBezTo>
                  <a:pt x="74" y="2"/>
                  <a:pt x="69" y="0"/>
                  <a:pt x="65" y="0"/>
                </a:cubicBezTo>
                <a:cubicBezTo>
                  <a:pt x="55" y="0"/>
                  <a:pt x="49" y="13"/>
                  <a:pt x="46" y="25"/>
                </a:cubicBezTo>
                <a:cubicBezTo>
                  <a:pt x="46" y="27"/>
                  <a:pt x="43" y="39"/>
                  <a:pt x="39" y="59"/>
                </a:cubicBezTo>
                <a:cubicBezTo>
                  <a:pt x="36" y="75"/>
                  <a:pt x="30" y="108"/>
                  <a:pt x="23" y="156"/>
                </a:cubicBezTo>
                <a:cubicBezTo>
                  <a:pt x="12" y="230"/>
                  <a:pt x="0" y="344"/>
                  <a:pt x="0" y="471"/>
                </a:cubicBezTo>
                <a:cubicBezTo>
                  <a:pt x="0" y="624"/>
                  <a:pt x="18" y="757"/>
                  <a:pt x="53" y="868"/>
                </a:cubicBezTo>
                <a:cubicBezTo>
                  <a:pt x="120" y="1079"/>
                  <a:pt x="314" y="1174"/>
                  <a:pt x="430" y="1174"/>
                </a:cubicBezTo>
                <a:cubicBezTo>
                  <a:pt x="432" y="1174"/>
                  <a:pt x="432" y="1174"/>
                  <a:pt x="432" y="1174"/>
                </a:cubicBezTo>
                <a:cubicBezTo>
                  <a:pt x="456" y="1174"/>
                  <a:pt x="478" y="1170"/>
                  <a:pt x="496" y="1162"/>
                </a:cubicBezTo>
                <a:cubicBezTo>
                  <a:pt x="505" y="1158"/>
                  <a:pt x="514" y="1154"/>
                  <a:pt x="525" y="1147"/>
                </a:cubicBezTo>
                <a:cubicBezTo>
                  <a:pt x="516" y="1135"/>
                  <a:pt x="509" y="1122"/>
                  <a:pt x="502" y="1108"/>
                </a:cubicBezTo>
                <a:cubicBezTo>
                  <a:pt x="479" y="1060"/>
                  <a:pt x="468" y="1003"/>
                  <a:pt x="467" y="932"/>
                </a:cubicBezTo>
                <a:cubicBezTo>
                  <a:pt x="468" y="844"/>
                  <a:pt x="486" y="742"/>
                  <a:pt x="521" y="627"/>
                </a:cubicBezTo>
                <a:cubicBezTo>
                  <a:pt x="524" y="617"/>
                  <a:pt x="528" y="606"/>
                  <a:pt x="532" y="596"/>
                </a:cubicBezTo>
                <a:close/>
              </a:path>
            </a:pathLst>
          </a:custGeom>
          <a:solidFill>
            <a:srgbClr val="E21C40"/>
          </a:solidFill>
          <a:ln w="9525">
            <a:noFill/>
            <a:round/>
            <a:headEnd/>
            <a:tailEnd/>
          </a:ln>
          <a:effectLst>
            <a:reflection endPos="0" dir="5400000" sy="-100000" algn="bl" rotWithShape="0"/>
          </a:effectLst>
        </p:spPr>
        <p:txBody>
          <a:bodyPr vert="horz" wrap="square" lIns="91440" tIns="45720" rIns="91440" bIns="45720" numCol="1" anchor="t" anchorCtr="0" compatLnSpc="1">
            <a:prstTxWarp prst="textNoShape">
              <a:avLst/>
            </a:prstTxWarp>
          </a:bodyPr>
          <a:lstStyle/>
          <a:p>
            <a:endParaRPr lang="en-GB"/>
          </a:p>
        </p:txBody>
      </p:sp>
      <p:sp>
        <p:nvSpPr>
          <p:cNvPr id="125" name="Freeform 8">
            <a:extLst>
              <a:ext uri="{FF2B5EF4-FFF2-40B4-BE49-F238E27FC236}">
                <a16:creationId xmlns:a16="http://schemas.microsoft.com/office/drawing/2014/main" id="{F3849BE9-C5DF-BD40-A6C4-605AD243E0D6}"/>
              </a:ext>
            </a:extLst>
          </p:cNvPr>
          <p:cNvSpPr>
            <a:spLocks/>
          </p:cNvSpPr>
          <p:nvPr/>
        </p:nvSpPr>
        <p:spPr bwMode="auto">
          <a:xfrm>
            <a:off x="5962402" y="2655911"/>
            <a:ext cx="272679" cy="467098"/>
          </a:xfrm>
          <a:custGeom>
            <a:avLst/>
            <a:gdLst>
              <a:gd name="T0" fmla="*/ 298 w 586"/>
              <a:gd name="T1" fmla="*/ 1003 h 1003"/>
              <a:gd name="T2" fmla="*/ 586 w 586"/>
              <a:gd name="T3" fmla="*/ 598 h 1003"/>
              <a:gd name="T4" fmla="*/ 329 w 586"/>
              <a:gd name="T5" fmla="*/ 40 h 1003"/>
              <a:gd name="T6" fmla="*/ 313 w 586"/>
              <a:gd name="T7" fmla="*/ 15 h 1003"/>
              <a:gd name="T8" fmla="*/ 293 w 586"/>
              <a:gd name="T9" fmla="*/ 0 h 1003"/>
              <a:gd name="T10" fmla="*/ 272 w 586"/>
              <a:gd name="T11" fmla="*/ 16 h 1003"/>
              <a:gd name="T12" fmla="*/ 256 w 586"/>
              <a:gd name="T13" fmla="*/ 40 h 1003"/>
              <a:gd name="T14" fmla="*/ 215 w 586"/>
              <a:gd name="T15" fmla="*/ 111 h 1003"/>
              <a:gd name="T16" fmla="*/ 89 w 586"/>
              <a:gd name="T17" fmla="*/ 362 h 1003"/>
              <a:gd name="T18" fmla="*/ 0 w 586"/>
              <a:gd name="T19" fmla="*/ 593 h 1003"/>
              <a:gd name="T20" fmla="*/ 298 w 586"/>
              <a:gd name="T21" fmla="*/ 1003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1003">
                <a:moveTo>
                  <a:pt x="298" y="1003"/>
                </a:moveTo>
                <a:cubicBezTo>
                  <a:pt x="362" y="867"/>
                  <a:pt x="458" y="731"/>
                  <a:pt x="586" y="598"/>
                </a:cubicBezTo>
                <a:cubicBezTo>
                  <a:pt x="499" y="335"/>
                  <a:pt x="377" y="121"/>
                  <a:pt x="329" y="40"/>
                </a:cubicBezTo>
                <a:cubicBezTo>
                  <a:pt x="318" y="24"/>
                  <a:pt x="313" y="15"/>
                  <a:pt x="313" y="15"/>
                </a:cubicBezTo>
                <a:cubicBezTo>
                  <a:pt x="303" y="1"/>
                  <a:pt x="295" y="0"/>
                  <a:pt x="293" y="0"/>
                </a:cubicBezTo>
                <a:cubicBezTo>
                  <a:pt x="286" y="0"/>
                  <a:pt x="279" y="5"/>
                  <a:pt x="272" y="16"/>
                </a:cubicBezTo>
                <a:cubicBezTo>
                  <a:pt x="272" y="16"/>
                  <a:pt x="266" y="24"/>
                  <a:pt x="256" y="40"/>
                </a:cubicBezTo>
                <a:cubicBezTo>
                  <a:pt x="242" y="64"/>
                  <a:pt x="228" y="87"/>
                  <a:pt x="215" y="111"/>
                </a:cubicBezTo>
                <a:cubicBezTo>
                  <a:pt x="184" y="165"/>
                  <a:pt x="137" y="253"/>
                  <a:pt x="89" y="362"/>
                </a:cubicBezTo>
                <a:cubicBezTo>
                  <a:pt x="57" y="437"/>
                  <a:pt x="27" y="515"/>
                  <a:pt x="0" y="593"/>
                </a:cubicBezTo>
                <a:cubicBezTo>
                  <a:pt x="93" y="685"/>
                  <a:pt x="216" y="829"/>
                  <a:pt x="298" y="1003"/>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 name="Freeform 9">
            <a:extLst>
              <a:ext uri="{FF2B5EF4-FFF2-40B4-BE49-F238E27FC236}">
                <a16:creationId xmlns:a16="http://schemas.microsoft.com/office/drawing/2014/main" id="{AC845489-855D-B54A-8C62-9C28132F9639}"/>
              </a:ext>
            </a:extLst>
          </p:cNvPr>
          <p:cNvSpPr>
            <a:spLocks/>
          </p:cNvSpPr>
          <p:nvPr/>
        </p:nvSpPr>
        <p:spPr bwMode="auto">
          <a:xfrm>
            <a:off x="6284055" y="2772562"/>
            <a:ext cx="265050" cy="649213"/>
          </a:xfrm>
          <a:custGeom>
            <a:avLst/>
            <a:gdLst>
              <a:gd name="T0" fmla="*/ 135 w 569"/>
              <a:gd name="T1" fmla="*/ 195 h 1394"/>
              <a:gd name="T2" fmla="*/ 183 w 569"/>
              <a:gd name="T3" fmla="*/ 262 h 1394"/>
              <a:gd name="T4" fmla="*/ 184 w 569"/>
              <a:gd name="T5" fmla="*/ 265 h 1394"/>
              <a:gd name="T6" fmla="*/ 231 w 569"/>
              <a:gd name="T7" fmla="*/ 723 h 1394"/>
              <a:gd name="T8" fmla="*/ 175 w 569"/>
              <a:gd name="T9" fmla="*/ 1140 h 1394"/>
              <a:gd name="T10" fmla="*/ 0 w 569"/>
              <a:gd name="T11" fmla="*/ 1394 h 1394"/>
              <a:gd name="T12" fmla="*/ 406 w 569"/>
              <a:gd name="T13" fmla="*/ 1108 h 1394"/>
              <a:gd name="T14" fmla="*/ 569 w 569"/>
              <a:gd name="T15" fmla="*/ 349 h 1394"/>
              <a:gd name="T16" fmla="*/ 558 w 569"/>
              <a:gd name="T17" fmla="*/ 121 h 1394"/>
              <a:gd name="T18" fmla="*/ 549 w 569"/>
              <a:gd name="T19" fmla="*/ 33 h 1394"/>
              <a:gd name="T20" fmla="*/ 514 w 569"/>
              <a:gd name="T21" fmla="*/ 0 h 1394"/>
              <a:gd name="T22" fmla="*/ 497 w 569"/>
              <a:gd name="T23" fmla="*/ 4 h 1394"/>
              <a:gd name="T24" fmla="*/ 496 w 569"/>
              <a:gd name="T25" fmla="*/ 4 h 1394"/>
              <a:gd name="T26" fmla="*/ 496 w 569"/>
              <a:gd name="T27" fmla="*/ 4 h 1394"/>
              <a:gd name="T28" fmla="*/ 471 w 569"/>
              <a:gd name="T29" fmla="*/ 14 h 1394"/>
              <a:gd name="T30" fmla="*/ 407 w 569"/>
              <a:gd name="T31" fmla="*/ 43 h 1394"/>
              <a:gd name="T32" fmla="*/ 398 w 569"/>
              <a:gd name="T33" fmla="*/ 48 h 1394"/>
              <a:gd name="T34" fmla="*/ 161 w 569"/>
              <a:gd name="T35" fmla="*/ 179 h 1394"/>
              <a:gd name="T36" fmla="*/ 135 w 569"/>
              <a:gd name="T37" fmla="*/ 195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9" h="1394">
                <a:moveTo>
                  <a:pt x="135" y="195"/>
                </a:moveTo>
                <a:cubicBezTo>
                  <a:pt x="159" y="207"/>
                  <a:pt x="176" y="231"/>
                  <a:pt x="183" y="262"/>
                </a:cubicBezTo>
                <a:cubicBezTo>
                  <a:pt x="183" y="263"/>
                  <a:pt x="183" y="264"/>
                  <a:pt x="184" y="265"/>
                </a:cubicBezTo>
                <a:cubicBezTo>
                  <a:pt x="195" y="317"/>
                  <a:pt x="231" y="504"/>
                  <a:pt x="231" y="723"/>
                </a:cubicBezTo>
                <a:cubicBezTo>
                  <a:pt x="231" y="880"/>
                  <a:pt x="212" y="1020"/>
                  <a:pt x="175" y="1140"/>
                </a:cubicBezTo>
                <a:cubicBezTo>
                  <a:pt x="135" y="1265"/>
                  <a:pt x="62" y="1346"/>
                  <a:pt x="0" y="1394"/>
                </a:cubicBezTo>
                <a:cubicBezTo>
                  <a:pt x="160" y="1386"/>
                  <a:pt x="304" y="1285"/>
                  <a:pt x="406" y="1108"/>
                </a:cubicBezTo>
                <a:cubicBezTo>
                  <a:pt x="540" y="872"/>
                  <a:pt x="569" y="565"/>
                  <a:pt x="569" y="349"/>
                </a:cubicBezTo>
                <a:cubicBezTo>
                  <a:pt x="569" y="273"/>
                  <a:pt x="565" y="196"/>
                  <a:pt x="558" y="121"/>
                </a:cubicBezTo>
                <a:cubicBezTo>
                  <a:pt x="553" y="66"/>
                  <a:pt x="549" y="33"/>
                  <a:pt x="549" y="33"/>
                </a:cubicBezTo>
                <a:cubicBezTo>
                  <a:pt x="544" y="11"/>
                  <a:pt x="533" y="0"/>
                  <a:pt x="514" y="0"/>
                </a:cubicBezTo>
                <a:cubicBezTo>
                  <a:pt x="510" y="0"/>
                  <a:pt x="504" y="0"/>
                  <a:pt x="497" y="4"/>
                </a:cubicBezTo>
                <a:cubicBezTo>
                  <a:pt x="496" y="4"/>
                  <a:pt x="496" y="4"/>
                  <a:pt x="496" y="4"/>
                </a:cubicBezTo>
                <a:cubicBezTo>
                  <a:pt x="496" y="4"/>
                  <a:pt x="496" y="4"/>
                  <a:pt x="496" y="4"/>
                </a:cubicBezTo>
                <a:cubicBezTo>
                  <a:pt x="496" y="4"/>
                  <a:pt x="487" y="7"/>
                  <a:pt x="471" y="14"/>
                </a:cubicBezTo>
                <a:cubicBezTo>
                  <a:pt x="455" y="21"/>
                  <a:pt x="434" y="31"/>
                  <a:pt x="407" y="43"/>
                </a:cubicBezTo>
                <a:cubicBezTo>
                  <a:pt x="398" y="48"/>
                  <a:pt x="398" y="48"/>
                  <a:pt x="398" y="48"/>
                </a:cubicBezTo>
                <a:cubicBezTo>
                  <a:pt x="316" y="87"/>
                  <a:pt x="236" y="132"/>
                  <a:pt x="161" y="179"/>
                </a:cubicBezTo>
                <a:cubicBezTo>
                  <a:pt x="152" y="184"/>
                  <a:pt x="144" y="189"/>
                  <a:pt x="135" y="195"/>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7" name="Freeform 10">
            <a:extLst>
              <a:ext uri="{FF2B5EF4-FFF2-40B4-BE49-F238E27FC236}">
                <a16:creationId xmlns:a16="http://schemas.microsoft.com/office/drawing/2014/main" id="{C4B838E7-1D2A-054B-BBD9-2899EFCCBFD4}"/>
              </a:ext>
            </a:extLst>
          </p:cNvPr>
          <p:cNvSpPr>
            <a:spLocks/>
          </p:cNvSpPr>
          <p:nvPr/>
        </p:nvSpPr>
        <p:spPr bwMode="auto">
          <a:xfrm>
            <a:off x="6200381" y="2687412"/>
            <a:ext cx="161442" cy="205986"/>
          </a:xfrm>
          <a:custGeom>
            <a:avLst/>
            <a:gdLst>
              <a:gd name="T0" fmla="*/ 347 w 347"/>
              <a:gd name="T1" fmla="*/ 282 h 442"/>
              <a:gd name="T2" fmla="*/ 283 w 347"/>
              <a:gd name="T3" fmla="*/ 30 h 442"/>
              <a:gd name="T4" fmla="*/ 282 w 347"/>
              <a:gd name="T5" fmla="*/ 27 h 442"/>
              <a:gd name="T6" fmla="*/ 249 w 347"/>
              <a:gd name="T7" fmla="*/ 0 h 442"/>
              <a:gd name="T8" fmla="*/ 242 w 347"/>
              <a:gd name="T9" fmla="*/ 0 h 442"/>
              <a:gd name="T10" fmla="*/ 242 w 347"/>
              <a:gd name="T11" fmla="*/ 0 h 442"/>
              <a:gd name="T12" fmla="*/ 242 w 347"/>
              <a:gd name="T13" fmla="*/ 0 h 442"/>
              <a:gd name="T14" fmla="*/ 227 w 347"/>
              <a:gd name="T15" fmla="*/ 7 h 442"/>
              <a:gd name="T16" fmla="*/ 226 w 347"/>
              <a:gd name="T17" fmla="*/ 7 h 442"/>
              <a:gd name="T18" fmla="*/ 226 w 347"/>
              <a:gd name="T19" fmla="*/ 7 h 442"/>
              <a:gd name="T20" fmla="*/ 136 w 347"/>
              <a:gd name="T21" fmla="*/ 68 h 442"/>
              <a:gd name="T22" fmla="*/ 0 w 347"/>
              <a:gd name="T23" fmla="*/ 173 h 442"/>
              <a:gd name="T24" fmla="*/ 113 w 347"/>
              <a:gd name="T25" fmla="*/ 442 h 442"/>
              <a:gd name="T26" fmla="*/ 347 w 347"/>
              <a:gd name="T27" fmla="*/ 282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7" h="442">
                <a:moveTo>
                  <a:pt x="347" y="282"/>
                </a:moveTo>
                <a:cubicBezTo>
                  <a:pt x="322" y="157"/>
                  <a:pt x="294" y="64"/>
                  <a:pt x="283" y="30"/>
                </a:cubicBezTo>
                <a:cubicBezTo>
                  <a:pt x="282" y="28"/>
                  <a:pt x="282" y="28"/>
                  <a:pt x="282" y="27"/>
                </a:cubicBezTo>
                <a:cubicBezTo>
                  <a:pt x="275" y="9"/>
                  <a:pt x="264" y="0"/>
                  <a:pt x="249" y="0"/>
                </a:cubicBezTo>
                <a:cubicBezTo>
                  <a:pt x="247" y="0"/>
                  <a:pt x="245" y="0"/>
                  <a:pt x="242" y="0"/>
                </a:cubicBezTo>
                <a:cubicBezTo>
                  <a:pt x="242" y="0"/>
                  <a:pt x="242" y="0"/>
                  <a:pt x="242" y="0"/>
                </a:cubicBezTo>
                <a:cubicBezTo>
                  <a:pt x="242" y="0"/>
                  <a:pt x="242" y="0"/>
                  <a:pt x="242" y="0"/>
                </a:cubicBezTo>
                <a:cubicBezTo>
                  <a:pt x="237" y="1"/>
                  <a:pt x="232" y="3"/>
                  <a:pt x="227" y="7"/>
                </a:cubicBezTo>
                <a:cubicBezTo>
                  <a:pt x="226" y="7"/>
                  <a:pt x="226" y="7"/>
                  <a:pt x="226" y="7"/>
                </a:cubicBezTo>
                <a:cubicBezTo>
                  <a:pt x="226" y="7"/>
                  <a:pt x="226" y="7"/>
                  <a:pt x="226" y="7"/>
                </a:cubicBezTo>
                <a:cubicBezTo>
                  <a:pt x="226" y="7"/>
                  <a:pt x="191" y="29"/>
                  <a:pt x="136" y="68"/>
                </a:cubicBezTo>
                <a:cubicBezTo>
                  <a:pt x="106" y="89"/>
                  <a:pt x="58" y="125"/>
                  <a:pt x="0" y="173"/>
                </a:cubicBezTo>
                <a:cubicBezTo>
                  <a:pt x="42" y="262"/>
                  <a:pt x="80" y="352"/>
                  <a:pt x="113" y="442"/>
                </a:cubicBezTo>
                <a:cubicBezTo>
                  <a:pt x="183" y="387"/>
                  <a:pt x="260" y="334"/>
                  <a:pt x="347" y="282"/>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8" name="Freeform 11">
            <a:extLst>
              <a:ext uri="{FF2B5EF4-FFF2-40B4-BE49-F238E27FC236}">
                <a16:creationId xmlns:a16="http://schemas.microsoft.com/office/drawing/2014/main" id="{7A912802-9682-2845-8407-2273FDED8AFF}"/>
              </a:ext>
            </a:extLst>
          </p:cNvPr>
          <p:cNvSpPr>
            <a:spLocks/>
          </p:cNvSpPr>
          <p:nvPr/>
        </p:nvSpPr>
        <p:spPr bwMode="auto">
          <a:xfrm>
            <a:off x="5453958" y="2959352"/>
            <a:ext cx="175962" cy="182114"/>
          </a:xfrm>
          <a:custGeom>
            <a:avLst/>
            <a:gdLst>
              <a:gd name="T0" fmla="*/ 166 w 378"/>
              <a:gd name="T1" fmla="*/ 391 h 391"/>
              <a:gd name="T2" fmla="*/ 378 w 378"/>
              <a:gd name="T3" fmla="*/ 298 h 391"/>
              <a:gd name="T4" fmla="*/ 353 w 378"/>
              <a:gd name="T5" fmla="*/ 11 h 391"/>
              <a:gd name="T6" fmla="*/ 157 w 378"/>
              <a:gd name="T7" fmla="*/ 0 h 391"/>
              <a:gd name="T8" fmla="*/ 132 w 378"/>
              <a:gd name="T9" fmla="*/ 0 h 391"/>
              <a:gd name="T10" fmla="*/ 57 w 378"/>
              <a:gd name="T11" fmla="*/ 1 h 391"/>
              <a:gd name="T12" fmla="*/ 10 w 378"/>
              <a:gd name="T13" fmla="*/ 29 h 391"/>
              <a:gd name="T14" fmla="*/ 1 w 378"/>
              <a:gd name="T15" fmla="*/ 64 h 391"/>
              <a:gd name="T16" fmla="*/ 166 w 378"/>
              <a:gd name="T17"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8" h="391">
                <a:moveTo>
                  <a:pt x="166" y="391"/>
                </a:moveTo>
                <a:cubicBezTo>
                  <a:pt x="238" y="355"/>
                  <a:pt x="309" y="324"/>
                  <a:pt x="378" y="298"/>
                </a:cubicBezTo>
                <a:cubicBezTo>
                  <a:pt x="364" y="209"/>
                  <a:pt x="355" y="113"/>
                  <a:pt x="353" y="11"/>
                </a:cubicBezTo>
                <a:cubicBezTo>
                  <a:pt x="267" y="3"/>
                  <a:pt x="200" y="1"/>
                  <a:pt x="157" y="0"/>
                </a:cubicBezTo>
                <a:cubicBezTo>
                  <a:pt x="148" y="0"/>
                  <a:pt x="140" y="0"/>
                  <a:pt x="132" y="0"/>
                </a:cubicBezTo>
                <a:cubicBezTo>
                  <a:pt x="85" y="0"/>
                  <a:pt x="57" y="1"/>
                  <a:pt x="57" y="1"/>
                </a:cubicBezTo>
                <a:cubicBezTo>
                  <a:pt x="39" y="2"/>
                  <a:pt x="21" y="13"/>
                  <a:pt x="10" y="29"/>
                </a:cubicBezTo>
                <a:cubicBezTo>
                  <a:pt x="4" y="39"/>
                  <a:pt x="0" y="52"/>
                  <a:pt x="1" y="64"/>
                </a:cubicBezTo>
                <a:cubicBezTo>
                  <a:pt x="4" y="96"/>
                  <a:pt x="26" y="214"/>
                  <a:pt x="166" y="391"/>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9" name="Freeform 12">
            <a:extLst>
              <a:ext uri="{FF2B5EF4-FFF2-40B4-BE49-F238E27FC236}">
                <a16:creationId xmlns:a16="http://schemas.microsoft.com/office/drawing/2014/main" id="{BDC55074-02B9-1D4F-812E-9046E6B6C0D1}"/>
              </a:ext>
            </a:extLst>
          </p:cNvPr>
          <p:cNvSpPr>
            <a:spLocks/>
          </p:cNvSpPr>
          <p:nvPr/>
        </p:nvSpPr>
        <p:spPr bwMode="auto">
          <a:xfrm>
            <a:off x="6566578" y="2959352"/>
            <a:ext cx="176454" cy="182114"/>
          </a:xfrm>
          <a:custGeom>
            <a:avLst/>
            <a:gdLst>
              <a:gd name="T0" fmla="*/ 378 w 379"/>
              <a:gd name="T1" fmla="*/ 64 h 391"/>
              <a:gd name="T2" fmla="*/ 369 w 379"/>
              <a:gd name="T3" fmla="*/ 29 h 391"/>
              <a:gd name="T4" fmla="*/ 322 w 379"/>
              <a:gd name="T5" fmla="*/ 1 h 391"/>
              <a:gd name="T6" fmla="*/ 247 w 379"/>
              <a:gd name="T7" fmla="*/ 0 h 391"/>
              <a:gd name="T8" fmla="*/ 221 w 379"/>
              <a:gd name="T9" fmla="*/ 0 h 391"/>
              <a:gd name="T10" fmla="*/ 26 w 379"/>
              <a:gd name="T11" fmla="*/ 11 h 391"/>
              <a:gd name="T12" fmla="*/ 0 w 379"/>
              <a:gd name="T13" fmla="*/ 298 h 391"/>
              <a:gd name="T14" fmla="*/ 213 w 379"/>
              <a:gd name="T15" fmla="*/ 391 h 391"/>
              <a:gd name="T16" fmla="*/ 378 w 379"/>
              <a:gd name="T17" fmla="*/ 64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9" h="391">
                <a:moveTo>
                  <a:pt x="378" y="64"/>
                </a:moveTo>
                <a:cubicBezTo>
                  <a:pt x="379" y="53"/>
                  <a:pt x="373" y="36"/>
                  <a:pt x="369" y="29"/>
                </a:cubicBezTo>
                <a:cubicBezTo>
                  <a:pt x="357" y="13"/>
                  <a:pt x="340" y="2"/>
                  <a:pt x="322" y="1"/>
                </a:cubicBezTo>
                <a:cubicBezTo>
                  <a:pt x="321" y="1"/>
                  <a:pt x="293" y="0"/>
                  <a:pt x="247" y="0"/>
                </a:cubicBezTo>
                <a:cubicBezTo>
                  <a:pt x="239" y="0"/>
                  <a:pt x="230" y="0"/>
                  <a:pt x="221" y="0"/>
                </a:cubicBezTo>
                <a:cubicBezTo>
                  <a:pt x="179" y="1"/>
                  <a:pt x="112" y="3"/>
                  <a:pt x="26" y="11"/>
                </a:cubicBezTo>
                <a:cubicBezTo>
                  <a:pt x="23" y="109"/>
                  <a:pt x="15" y="206"/>
                  <a:pt x="0" y="298"/>
                </a:cubicBezTo>
                <a:cubicBezTo>
                  <a:pt x="69" y="324"/>
                  <a:pt x="141" y="355"/>
                  <a:pt x="213" y="391"/>
                </a:cubicBezTo>
                <a:cubicBezTo>
                  <a:pt x="353" y="213"/>
                  <a:pt x="375" y="96"/>
                  <a:pt x="378" y="64"/>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 name="Freeform 13">
            <a:extLst>
              <a:ext uri="{FF2B5EF4-FFF2-40B4-BE49-F238E27FC236}">
                <a16:creationId xmlns:a16="http://schemas.microsoft.com/office/drawing/2014/main" id="{8178B616-D448-CF4D-8C4B-F6F871741891}"/>
              </a:ext>
            </a:extLst>
          </p:cNvPr>
          <p:cNvSpPr>
            <a:spLocks/>
          </p:cNvSpPr>
          <p:nvPr/>
        </p:nvSpPr>
        <p:spPr bwMode="auto">
          <a:xfrm>
            <a:off x="6390617" y="3128423"/>
            <a:ext cx="412710" cy="290644"/>
          </a:xfrm>
          <a:custGeom>
            <a:avLst/>
            <a:gdLst>
              <a:gd name="T0" fmla="*/ 862 w 886"/>
              <a:gd name="T1" fmla="*/ 266 h 624"/>
              <a:gd name="T2" fmla="*/ 841 w 886"/>
              <a:gd name="T3" fmla="*/ 252 h 624"/>
              <a:gd name="T4" fmla="*/ 840 w 886"/>
              <a:gd name="T5" fmla="*/ 252 h 624"/>
              <a:gd name="T6" fmla="*/ 840 w 886"/>
              <a:gd name="T7" fmla="*/ 251 h 624"/>
              <a:gd name="T8" fmla="*/ 795 w 886"/>
              <a:gd name="T9" fmla="*/ 221 h 624"/>
              <a:gd name="T10" fmla="*/ 779 w 886"/>
              <a:gd name="T11" fmla="*/ 210 h 624"/>
              <a:gd name="T12" fmla="*/ 560 w 886"/>
              <a:gd name="T13" fmla="*/ 86 h 624"/>
              <a:gd name="T14" fmla="*/ 367 w 886"/>
              <a:gd name="T15" fmla="*/ 0 h 624"/>
              <a:gd name="T16" fmla="*/ 233 w 886"/>
              <a:gd name="T17" fmla="*/ 376 h 624"/>
              <a:gd name="T18" fmla="*/ 0 w 886"/>
              <a:gd name="T19" fmla="*/ 624 h 624"/>
              <a:gd name="T20" fmla="*/ 876 w 886"/>
              <a:gd name="T21" fmla="*/ 348 h 624"/>
              <a:gd name="T22" fmla="*/ 876 w 886"/>
              <a:gd name="T23" fmla="*/ 348 h 624"/>
              <a:gd name="T24" fmla="*/ 886 w 886"/>
              <a:gd name="T25" fmla="*/ 315 h 624"/>
              <a:gd name="T26" fmla="*/ 862 w 886"/>
              <a:gd name="T27" fmla="*/ 266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6" h="624">
                <a:moveTo>
                  <a:pt x="862" y="266"/>
                </a:moveTo>
                <a:cubicBezTo>
                  <a:pt x="862" y="266"/>
                  <a:pt x="855" y="261"/>
                  <a:pt x="841" y="252"/>
                </a:cubicBezTo>
                <a:cubicBezTo>
                  <a:pt x="840" y="252"/>
                  <a:pt x="840" y="252"/>
                  <a:pt x="840" y="252"/>
                </a:cubicBezTo>
                <a:cubicBezTo>
                  <a:pt x="840" y="251"/>
                  <a:pt x="840" y="251"/>
                  <a:pt x="840" y="251"/>
                </a:cubicBezTo>
                <a:cubicBezTo>
                  <a:pt x="830" y="243"/>
                  <a:pt x="814" y="233"/>
                  <a:pt x="795" y="221"/>
                </a:cubicBezTo>
                <a:cubicBezTo>
                  <a:pt x="790" y="217"/>
                  <a:pt x="785" y="214"/>
                  <a:pt x="779" y="210"/>
                </a:cubicBezTo>
                <a:cubicBezTo>
                  <a:pt x="731" y="180"/>
                  <a:pt x="654" y="133"/>
                  <a:pt x="560" y="86"/>
                </a:cubicBezTo>
                <a:cubicBezTo>
                  <a:pt x="495" y="53"/>
                  <a:pt x="430" y="24"/>
                  <a:pt x="367" y="0"/>
                </a:cubicBezTo>
                <a:cubicBezTo>
                  <a:pt x="338" y="145"/>
                  <a:pt x="293" y="271"/>
                  <a:pt x="233" y="376"/>
                </a:cubicBezTo>
                <a:cubicBezTo>
                  <a:pt x="170" y="486"/>
                  <a:pt x="92" y="569"/>
                  <a:pt x="0" y="624"/>
                </a:cubicBezTo>
                <a:cubicBezTo>
                  <a:pt x="668" y="588"/>
                  <a:pt x="856" y="373"/>
                  <a:pt x="876" y="348"/>
                </a:cubicBezTo>
                <a:cubicBezTo>
                  <a:pt x="876" y="348"/>
                  <a:pt x="876" y="348"/>
                  <a:pt x="876" y="348"/>
                </a:cubicBezTo>
                <a:cubicBezTo>
                  <a:pt x="883" y="338"/>
                  <a:pt x="886" y="327"/>
                  <a:pt x="886" y="315"/>
                </a:cubicBezTo>
                <a:cubicBezTo>
                  <a:pt x="886" y="296"/>
                  <a:pt x="877" y="277"/>
                  <a:pt x="862" y="266"/>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 name="Freeform 14">
            <a:extLst>
              <a:ext uri="{FF2B5EF4-FFF2-40B4-BE49-F238E27FC236}">
                <a16:creationId xmlns:a16="http://schemas.microsoft.com/office/drawing/2014/main" id="{52DDA9A9-DE8C-3E45-B619-CE5D4A033244}"/>
              </a:ext>
            </a:extLst>
          </p:cNvPr>
          <p:cNvSpPr>
            <a:spLocks/>
          </p:cNvSpPr>
          <p:nvPr/>
        </p:nvSpPr>
        <p:spPr bwMode="auto">
          <a:xfrm>
            <a:off x="6133688" y="3441955"/>
            <a:ext cx="416156" cy="66447"/>
          </a:xfrm>
          <a:custGeom>
            <a:avLst/>
            <a:gdLst>
              <a:gd name="T0" fmla="*/ 835 w 894"/>
              <a:gd name="T1" fmla="*/ 0 h 143"/>
              <a:gd name="T2" fmla="*/ 673 w 894"/>
              <a:gd name="T3" fmla="*/ 18 h 143"/>
              <a:gd name="T4" fmla="*/ 638 w 894"/>
              <a:gd name="T5" fmla="*/ 23 h 143"/>
              <a:gd name="T6" fmla="*/ 509 w 894"/>
              <a:gd name="T7" fmla="*/ 30 h 143"/>
              <a:gd name="T8" fmla="*/ 405 w 894"/>
              <a:gd name="T9" fmla="*/ 28 h 143"/>
              <a:gd name="T10" fmla="*/ 402 w 894"/>
              <a:gd name="T11" fmla="*/ 28 h 143"/>
              <a:gd name="T12" fmla="*/ 289 w 894"/>
              <a:gd name="T13" fmla="*/ 26 h 143"/>
              <a:gd name="T14" fmla="*/ 8 w 894"/>
              <a:gd name="T15" fmla="*/ 56 h 143"/>
              <a:gd name="T16" fmla="*/ 0 w 894"/>
              <a:gd name="T17" fmla="*/ 65 h 143"/>
              <a:gd name="T18" fmla="*/ 11 w 894"/>
              <a:gd name="T19" fmla="*/ 69 h 143"/>
              <a:gd name="T20" fmla="*/ 16 w 894"/>
              <a:gd name="T21" fmla="*/ 69 h 143"/>
              <a:gd name="T22" fmla="*/ 122 w 894"/>
              <a:gd name="T23" fmla="*/ 64 h 143"/>
              <a:gd name="T24" fmla="*/ 407 w 894"/>
              <a:gd name="T25" fmla="*/ 105 h 143"/>
              <a:gd name="T26" fmla="*/ 653 w 894"/>
              <a:gd name="T27" fmla="*/ 143 h 143"/>
              <a:gd name="T28" fmla="*/ 878 w 894"/>
              <a:gd name="T29" fmla="*/ 82 h 143"/>
              <a:gd name="T30" fmla="*/ 893 w 894"/>
              <a:gd name="T31" fmla="*/ 41 h 143"/>
              <a:gd name="T32" fmla="*/ 835 w 894"/>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4" h="143">
                <a:moveTo>
                  <a:pt x="835" y="0"/>
                </a:moveTo>
                <a:cubicBezTo>
                  <a:pt x="801" y="0"/>
                  <a:pt x="750" y="7"/>
                  <a:pt x="673" y="18"/>
                </a:cubicBezTo>
                <a:cubicBezTo>
                  <a:pt x="662" y="19"/>
                  <a:pt x="650" y="21"/>
                  <a:pt x="638" y="23"/>
                </a:cubicBezTo>
                <a:cubicBezTo>
                  <a:pt x="604" y="27"/>
                  <a:pt x="563" y="30"/>
                  <a:pt x="509" y="30"/>
                </a:cubicBezTo>
                <a:cubicBezTo>
                  <a:pt x="476" y="30"/>
                  <a:pt x="442" y="29"/>
                  <a:pt x="405" y="28"/>
                </a:cubicBezTo>
                <a:cubicBezTo>
                  <a:pt x="402" y="28"/>
                  <a:pt x="402" y="28"/>
                  <a:pt x="402" y="28"/>
                </a:cubicBezTo>
                <a:cubicBezTo>
                  <a:pt x="367" y="27"/>
                  <a:pt x="328" y="26"/>
                  <a:pt x="289" y="26"/>
                </a:cubicBezTo>
                <a:cubicBezTo>
                  <a:pt x="207" y="26"/>
                  <a:pt x="101" y="30"/>
                  <a:pt x="8" y="56"/>
                </a:cubicBezTo>
                <a:cubicBezTo>
                  <a:pt x="3" y="57"/>
                  <a:pt x="0" y="62"/>
                  <a:pt x="0" y="65"/>
                </a:cubicBezTo>
                <a:cubicBezTo>
                  <a:pt x="1" y="68"/>
                  <a:pt x="6" y="69"/>
                  <a:pt x="11" y="69"/>
                </a:cubicBezTo>
                <a:cubicBezTo>
                  <a:pt x="13" y="69"/>
                  <a:pt x="14" y="69"/>
                  <a:pt x="16" y="69"/>
                </a:cubicBezTo>
                <a:cubicBezTo>
                  <a:pt x="53" y="66"/>
                  <a:pt x="88" y="64"/>
                  <a:pt x="122" y="64"/>
                </a:cubicBezTo>
                <a:cubicBezTo>
                  <a:pt x="244" y="64"/>
                  <a:pt x="327" y="85"/>
                  <a:pt x="407" y="105"/>
                </a:cubicBezTo>
                <a:cubicBezTo>
                  <a:pt x="483" y="125"/>
                  <a:pt x="554" y="143"/>
                  <a:pt x="653" y="143"/>
                </a:cubicBezTo>
                <a:cubicBezTo>
                  <a:pt x="759" y="143"/>
                  <a:pt x="843" y="120"/>
                  <a:pt x="878" y="82"/>
                </a:cubicBezTo>
                <a:cubicBezTo>
                  <a:pt x="889" y="70"/>
                  <a:pt x="894" y="56"/>
                  <a:pt x="893" y="41"/>
                </a:cubicBezTo>
                <a:cubicBezTo>
                  <a:pt x="890" y="13"/>
                  <a:pt x="881" y="0"/>
                  <a:pt x="835" y="0"/>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 name="Freeform 15">
            <a:extLst>
              <a:ext uri="{FF2B5EF4-FFF2-40B4-BE49-F238E27FC236}">
                <a16:creationId xmlns:a16="http://schemas.microsoft.com/office/drawing/2014/main" id="{1E0441EA-F5E5-4140-99BC-D43934EE51BA}"/>
              </a:ext>
            </a:extLst>
          </p:cNvPr>
          <p:cNvSpPr>
            <a:spLocks/>
          </p:cNvSpPr>
          <p:nvPr/>
        </p:nvSpPr>
        <p:spPr bwMode="auto">
          <a:xfrm>
            <a:off x="5835168" y="2687412"/>
            <a:ext cx="161688" cy="205986"/>
          </a:xfrm>
          <a:custGeom>
            <a:avLst/>
            <a:gdLst>
              <a:gd name="T0" fmla="*/ 347 w 347"/>
              <a:gd name="T1" fmla="*/ 173 h 442"/>
              <a:gd name="T2" fmla="*/ 210 w 347"/>
              <a:gd name="T3" fmla="*/ 68 h 442"/>
              <a:gd name="T4" fmla="*/ 120 w 347"/>
              <a:gd name="T5" fmla="*/ 7 h 442"/>
              <a:gd name="T6" fmla="*/ 120 w 347"/>
              <a:gd name="T7" fmla="*/ 7 h 442"/>
              <a:gd name="T8" fmla="*/ 120 w 347"/>
              <a:gd name="T9" fmla="*/ 7 h 442"/>
              <a:gd name="T10" fmla="*/ 105 w 347"/>
              <a:gd name="T11" fmla="*/ 0 h 442"/>
              <a:gd name="T12" fmla="*/ 105 w 347"/>
              <a:gd name="T13" fmla="*/ 0 h 442"/>
              <a:gd name="T14" fmla="*/ 104 w 347"/>
              <a:gd name="T15" fmla="*/ 0 h 442"/>
              <a:gd name="T16" fmla="*/ 98 w 347"/>
              <a:gd name="T17" fmla="*/ 0 h 442"/>
              <a:gd name="T18" fmla="*/ 65 w 347"/>
              <a:gd name="T19" fmla="*/ 27 h 442"/>
              <a:gd name="T20" fmla="*/ 64 w 347"/>
              <a:gd name="T21" fmla="*/ 30 h 442"/>
              <a:gd name="T22" fmla="*/ 0 w 347"/>
              <a:gd name="T23" fmla="*/ 282 h 442"/>
              <a:gd name="T24" fmla="*/ 233 w 347"/>
              <a:gd name="T25" fmla="*/ 442 h 442"/>
              <a:gd name="T26" fmla="*/ 347 w 347"/>
              <a:gd name="T27" fmla="*/ 173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7" h="442">
                <a:moveTo>
                  <a:pt x="347" y="173"/>
                </a:moveTo>
                <a:cubicBezTo>
                  <a:pt x="301" y="135"/>
                  <a:pt x="255" y="100"/>
                  <a:pt x="210" y="68"/>
                </a:cubicBezTo>
                <a:cubicBezTo>
                  <a:pt x="156" y="29"/>
                  <a:pt x="121" y="7"/>
                  <a:pt x="120" y="7"/>
                </a:cubicBezTo>
                <a:cubicBezTo>
                  <a:pt x="120" y="7"/>
                  <a:pt x="120" y="7"/>
                  <a:pt x="120" y="7"/>
                </a:cubicBezTo>
                <a:cubicBezTo>
                  <a:pt x="120" y="7"/>
                  <a:pt x="120" y="7"/>
                  <a:pt x="120" y="7"/>
                </a:cubicBezTo>
                <a:cubicBezTo>
                  <a:pt x="115" y="3"/>
                  <a:pt x="110" y="1"/>
                  <a:pt x="105" y="0"/>
                </a:cubicBezTo>
                <a:cubicBezTo>
                  <a:pt x="105" y="0"/>
                  <a:pt x="105" y="0"/>
                  <a:pt x="105" y="0"/>
                </a:cubicBezTo>
                <a:cubicBezTo>
                  <a:pt x="104" y="0"/>
                  <a:pt x="104" y="0"/>
                  <a:pt x="104" y="0"/>
                </a:cubicBezTo>
                <a:cubicBezTo>
                  <a:pt x="102" y="0"/>
                  <a:pt x="100" y="0"/>
                  <a:pt x="98" y="0"/>
                </a:cubicBezTo>
                <a:cubicBezTo>
                  <a:pt x="83" y="0"/>
                  <a:pt x="72" y="9"/>
                  <a:pt x="65" y="27"/>
                </a:cubicBezTo>
                <a:cubicBezTo>
                  <a:pt x="65" y="28"/>
                  <a:pt x="64" y="28"/>
                  <a:pt x="64" y="30"/>
                </a:cubicBezTo>
                <a:cubicBezTo>
                  <a:pt x="53" y="64"/>
                  <a:pt x="25" y="157"/>
                  <a:pt x="0" y="282"/>
                </a:cubicBezTo>
                <a:cubicBezTo>
                  <a:pt x="87" y="334"/>
                  <a:pt x="164" y="387"/>
                  <a:pt x="233" y="442"/>
                </a:cubicBezTo>
                <a:cubicBezTo>
                  <a:pt x="265" y="355"/>
                  <a:pt x="303" y="265"/>
                  <a:pt x="347" y="173"/>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 name="Freeform 16">
            <a:extLst>
              <a:ext uri="{FF2B5EF4-FFF2-40B4-BE49-F238E27FC236}">
                <a16:creationId xmlns:a16="http://schemas.microsoft.com/office/drawing/2014/main" id="{9C37A78A-E89F-594B-AB9D-6A316D64F392}"/>
              </a:ext>
            </a:extLst>
          </p:cNvPr>
          <p:cNvSpPr>
            <a:spLocks/>
          </p:cNvSpPr>
          <p:nvPr/>
        </p:nvSpPr>
        <p:spPr bwMode="auto">
          <a:xfrm>
            <a:off x="5393910" y="3128423"/>
            <a:ext cx="412464" cy="291137"/>
          </a:xfrm>
          <a:custGeom>
            <a:avLst/>
            <a:gdLst>
              <a:gd name="T0" fmla="*/ 653 w 886"/>
              <a:gd name="T1" fmla="*/ 376 h 625"/>
              <a:gd name="T2" fmla="*/ 519 w 886"/>
              <a:gd name="T3" fmla="*/ 0 h 625"/>
              <a:gd name="T4" fmla="*/ 45 w 886"/>
              <a:gd name="T5" fmla="*/ 252 h 625"/>
              <a:gd name="T6" fmla="*/ 23 w 886"/>
              <a:gd name="T7" fmla="*/ 267 h 625"/>
              <a:gd name="T8" fmla="*/ 0 w 886"/>
              <a:gd name="T9" fmla="*/ 315 h 625"/>
              <a:gd name="T10" fmla="*/ 10 w 886"/>
              <a:gd name="T11" fmla="*/ 348 h 625"/>
              <a:gd name="T12" fmla="*/ 11 w 886"/>
              <a:gd name="T13" fmla="*/ 350 h 625"/>
              <a:gd name="T14" fmla="*/ 15 w 886"/>
              <a:gd name="T15" fmla="*/ 355 h 625"/>
              <a:gd name="T16" fmla="*/ 18 w 886"/>
              <a:gd name="T17" fmla="*/ 358 h 625"/>
              <a:gd name="T18" fmla="*/ 50 w 886"/>
              <a:gd name="T19" fmla="*/ 388 h 625"/>
              <a:gd name="T20" fmla="*/ 210 w 886"/>
              <a:gd name="T21" fmla="*/ 485 h 625"/>
              <a:gd name="T22" fmla="*/ 886 w 886"/>
              <a:gd name="T23" fmla="*/ 625 h 625"/>
              <a:gd name="T24" fmla="*/ 653 w 886"/>
              <a:gd name="T25" fmla="*/ 376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86" h="625">
                <a:moveTo>
                  <a:pt x="653" y="376"/>
                </a:moveTo>
                <a:cubicBezTo>
                  <a:pt x="593" y="271"/>
                  <a:pt x="548" y="145"/>
                  <a:pt x="519" y="0"/>
                </a:cubicBezTo>
                <a:cubicBezTo>
                  <a:pt x="294" y="85"/>
                  <a:pt x="113" y="204"/>
                  <a:pt x="45" y="252"/>
                </a:cubicBezTo>
                <a:cubicBezTo>
                  <a:pt x="31" y="261"/>
                  <a:pt x="23" y="267"/>
                  <a:pt x="23" y="267"/>
                </a:cubicBezTo>
                <a:cubicBezTo>
                  <a:pt x="9" y="277"/>
                  <a:pt x="0" y="296"/>
                  <a:pt x="0" y="315"/>
                </a:cubicBezTo>
                <a:cubicBezTo>
                  <a:pt x="0" y="327"/>
                  <a:pt x="3" y="338"/>
                  <a:pt x="10" y="348"/>
                </a:cubicBezTo>
                <a:cubicBezTo>
                  <a:pt x="10" y="349"/>
                  <a:pt x="10" y="349"/>
                  <a:pt x="11" y="350"/>
                </a:cubicBezTo>
                <a:cubicBezTo>
                  <a:pt x="12" y="351"/>
                  <a:pt x="13" y="353"/>
                  <a:pt x="15" y="355"/>
                </a:cubicBezTo>
                <a:cubicBezTo>
                  <a:pt x="16" y="356"/>
                  <a:pt x="17" y="357"/>
                  <a:pt x="18" y="358"/>
                </a:cubicBezTo>
                <a:cubicBezTo>
                  <a:pt x="22" y="363"/>
                  <a:pt x="33" y="374"/>
                  <a:pt x="50" y="388"/>
                </a:cubicBezTo>
                <a:cubicBezTo>
                  <a:pt x="78" y="412"/>
                  <a:pt x="128" y="449"/>
                  <a:pt x="210" y="485"/>
                </a:cubicBezTo>
                <a:cubicBezTo>
                  <a:pt x="378" y="561"/>
                  <a:pt x="611" y="610"/>
                  <a:pt x="886" y="625"/>
                </a:cubicBezTo>
                <a:cubicBezTo>
                  <a:pt x="795" y="570"/>
                  <a:pt x="715" y="485"/>
                  <a:pt x="653" y="376"/>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 name="Freeform 17">
            <a:extLst>
              <a:ext uri="{FF2B5EF4-FFF2-40B4-BE49-F238E27FC236}">
                <a16:creationId xmlns:a16="http://schemas.microsoft.com/office/drawing/2014/main" id="{413B4265-9321-F644-8A68-4AA5679F2ECD}"/>
              </a:ext>
            </a:extLst>
          </p:cNvPr>
          <p:cNvSpPr>
            <a:spLocks/>
          </p:cNvSpPr>
          <p:nvPr/>
        </p:nvSpPr>
        <p:spPr bwMode="auto">
          <a:xfrm>
            <a:off x="5646655" y="3441955"/>
            <a:ext cx="416648" cy="66447"/>
          </a:xfrm>
          <a:custGeom>
            <a:avLst/>
            <a:gdLst>
              <a:gd name="T0" fmla="*/ 887 w 895"/>
              <a:gd name="T1" fmla="*/ 56 h 143"/>
              <a:gd name="T2" fmla="*/ 606 w 895"/>
              <a:gd name="T3" fmla="*/ 26 h 143"/>
              <a:gd name="T4" fmla="*/ 606 w 895"/>
              <a:gd name="T5" fmla="*/ 26 h 143"/>
              <a:gd name="T6" fmla="*/ 493 w 895"/>
              <a:gd name="T7" fmla="*/ 28 h 143"/>
              <a:gd name="T8" fmla="*/ 490 w 895"/>
              <a:gd name="T9" fmla="*/ 28 h 143"/>
              <a:gd name="T10" fmla="*/ 386 w 895"/>
              <a:gd name="T11" fmla="*/ 30 h 143"/>
              <a:gd name="T12" fmla="*/ 257 w 895"/>
              <a:gd name="T13" fmla="*/ 23 h 143"/>
              <a:gd name="T14" fmla="*/ 220 w 895"/>
              <a:gd name="T15" fmla="*/ 18 h 143"/>
              <a:gd name="T16" fmla="*/ 60 w 895"/>
              <a:gd name="T17" fmla="*/ 0 h 143"/>
              <a:gd name="T18" fmla="*/ 2 w 895"/>
              <a:gd name="T19" fmla="*/ 41 h 143"/>
              <a:gd name="T20" fmla="*/ 17 w 895"/>
              <a:gd name="T21" fmla="*/ 82 h 143"/>
              <a:gd name="T22" fmla="*/ 241 w 895"/>
              <a:gd name="T23" fmla="*/ 143 h 143"/>
              <a:gd name="T24" fmla="*/ 488 w 895"/>
              <a:gd name="T25" fmla="*/ 105 h 143"/>
              <a:gd name="T26" fmla="*/ 773 w 895"/>
              <a:gd name="T27" fmla="*/ 64 h 143"/>
              <a:gd name="T28" fmla="*/ 879 w 895"/>
              <a:gd name="T29" fmla="*/ 69 h 143"/>
              <a:gd name="T30" fmla="*/ 883 w 895"/>
              <a:gd name="T31" fmla="*/ 69 h 143"/>
              <a:gd name="T32" fmla="*/ 895 w 895"/>
              <a:gd name="T33" fmla="*/ 65 h 143"/>
              <a:gd name="T34" fmla="*/ 887 w 895"/>
              <a:gd name="T35" fmla="*/ 56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5" h="143">
                <a:moveTo>
                  <a:pt x="887" y="56"/>
                </a:moveTo>
                <a:cubicBezTo>
                  <a:pt x="794" y="30"/>
                  <a:pt x="688" y="26"/>
                  <a:pt x="606" y="26"/>
                </a:cubicBezTo>
                <a:cubicBezTo>
                  <a:pt x="606" y="26"/>
                  <a:pt x="606" y="26"/>
                  <a:pt x="606" y="26"/>
                </a:cubicBezTo>
                <a:cubicBezTo>
                  <a:pt x="567" y="26"/>
                  <a:pt x="527" y="27"/>
                  <a:pt x="493" y="28"/>
                </a:cubicBezTo>
                <a:cubicBezTo>
                  <a:pt x="490" y="28"/>
                  <a:pt x="490" y="28"/>
                  <a:pt x="490" y="28"/>
                </a:cubicBezTo>
                <a:cubicBezTo>
                  <a:pt x="453" y="29"/>
                  <a:pt x="419" y="30"/>
                  <a:pt x="386" y="30"/>
                </a:cubicBezTo>
                <a:cubicBezTo>
                  <a:pt x="331" y="30"/>
                  <a:pt x="290" y="27"/>
                  <a:pt x="257" y="23"/>
                </a:cubicBezTo>
                <a:cubicBezTo>
                  <a:pt x="244" y="21"/>
                  <a:pt x="232" y="19"/>
                  <a:pt x="220" y="18"/>
                </a:cubicBezTo>
                <a:cubicBezTo>
                  <a:pt x="144" y="7"/>
                  <a:pt x="94" y="0"/>
                  <a:pt x="60" y="0"/>
                </a:cubicBezTo>
                <a:cubicBezTo>
                  <a:pt x="14" y="0"/>
                  <a:pt x="5" y="13"/>
                  <a:pt x="2" y="41"/>
                </a:cubicBezTo>
                <a:cubicBezTo>
                  <a:pt x="0" y="56"/>
                  <a:pt x="5" y="69"/>
                  <a:pt x="17" y="82"/>
                </a:cubicBezTo>
                <a:cubicBezTo>
                  <a:pt x="51" y="119"/>
                  <a:pt x="137" y="143"/>
                  <a:pt x="241" y="143"/>
                </a:cubicBezTo>
                <a:cubicBezTo>
                  <a:pt x="341" y="143"/>
                  <a:pt x="412" y="125"/>
                  <a:pt x="488" y="105"/>
                </a:cubicBezTo>
                <a:cubicBezTo>
                  <a:pt x="568" y="85"/>
                  <a:pt x="651" y="64"/>
                  <a:pt x="773" y="64"/>
                </a:cubicBezTo>
                <a:cubicBezTo>
                  <a:pt x="806" y="64"/>
                  <a:pt x="842" y="66"/>
                  <a:pt x="879" y="69"/>
                </a:cubicBezTo>
                <a:cubicBezTo>
                  <a:pt x="881" y="69"/>
                  <a:pt x="882" y="69"/>
                  <a:pt x="883" y="69"/>
                </a:cubicBezTo>
                <a:cubicBezTo>
                  <a:pt x="888" y="69"/>
                  <a:pt x="894" y="68"/>
                  <a:pt x="895" y="65"/>
                </a:cubicBezTo>
                <a:cubicBezTo>
                  <a:pt x="895" y="62"/>
                  <a:pt x="892" y="57"/>
                  <a:pt x="887" y="56"/>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713777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4"/>
                                        </p:tgtEl>
                                        <p:attrNameLst>
                                          <p:attrName>style.visibility</p:attrName>
                                        </p:attrNameLst>
                                      </p:cBhvr>
                                      <p:to>
                                        <p:strVal val="visible"/>
                                      </p:to>
                                    </p:set>
                                    <p:animEffect transition="in" filter="fade">
                                      <p:cBhvr>
                                        <p:cTn id="7" dur="1000"/>
                                        <p:tgtEl>
                                          <p:spTgt spid="124"/>
                                        </p:tgtEl>
                                      </p:cBhvr>
                                    </p:animEffect>
                                  </p:childTnLst>
                                </p:cTn>
                              </p:par>
                              <p:par>
                                <p:cTn id="8" presetID="42" presetClass="path" presetSubtype="0" decel="100000" fill="hold" grpId="1" nodeType="withEffect">
                                  <p:stCondLst>
                                    <p:cond delay="0"/>
                                  </p:stCondLst>
                                  <p:childTnLst>
                                    <p:animMotion origin="layout" path="M -2.29167E-6 -1.11111E-6 L 0.00651 0.02083 " pathEditMode="relative" rAng="0" ptsTypes="AA">
                                      <p:cBhvr>
                                        <p:cTn id="9" dur="750" spd="-100000" fill="hold"/>
                                        <p:tgtEl>
                                          <p:spTgt spid="124"/>
                                        </p:tgtEl>
                                        <p:attrNameLst>
                                          <p:attrName>ppt_x</p:attrName>
                                          <p:attrName>ppt_y</p:attrName>
                                        </p:attrNameLst>
                                      </p:cBhvr>
                                      <p:rCtr x="326" y="1042"/>
                                    </p:animMotion>
                                  </p:childTnLst>
                                </p:cTn>
                              </p:par>
                              <p:par>
                                <p:cTn id="10" presetID="10" presetClass="entr" presetSubtype="0" fill="hold" grpId="0" nodeType="withEffect">
                                  <p:stCondLst>
                                    <p:cond delay="0"/>
                                  </p:stCondLst>
                                  <p:childTnLst>
                                    <p:set>
                                      <p:cBhvr>
                                        <p:cTn id="11" dur="1" fill="hold">
                                          <p:stCondLst>
                                            <p:cond delay="0"/>
                                          </p:stCondLst>
                                        </p:cTn>
                                        <p:tgtEl>
                                          <p:spTgt spid="123"/>
                                        </p:tgtEl>
                                        <p:attrNameLst>
                                          <p:attrName>style.visibility</p:attrName>
                                        </p:attrNameLst>
                                      </p:cBhvr>
                                      <p:to>
                                        <p:strVal val="visible"/>
                                      </p:to>
                                    </p:set>
                                    <p:animEffect transition="in" filter="fade">
                                      <p:cBhvr>
                                        <p:cTn id="12" dur="1000"/>
                                        <p:tgtEl>
                                          <p:spTgt spid="123"/>
                                        </p:tgtEl>
                                      </p:cBhvr>
                                    </p:animEffect>
                                  </p:childTnLst>
                                </p:cTn>
                              </p:par>
                              <p:par>
                                <p:cTn id="13" presetID="42" presetClass="path" presetSubtype="0" decel="100000" fill="hold" grpId="1" nodeType="withEffect">
                                  <p:stCondLst>
                                    <p:cond delay="0"/>
                                  </p:stCondLst>
                                  <p:childTnLst>
                                    <p:animMotion origin="layout" path="M 3.54167E-6 -1.11111E-6 L -0.00482 0.02083 " pathEditMode="relative" rAng="0" ptsTypes="AA">
                                      <p:cBhvr>
                                        <p:cTn id="14" dur="750" spd="-100000" fill="hold"/>
                                        <p:tgtEl>
                                          <p:spTgt spid="123"/>
                                        </p:tgtEl>
                                        <p:attrNameLst>
                                          <p:attrName>ppt_x</p:attrName>
                                          <p:attrName>ppt_y</p:attrName>
                                        </p:attrNameLst>
                                      </p:cBhvr>
                                      <p:rCtr x="-247" y="1042"/>
                                    </p:animMotion>
                                  </p:childTnLst>
                                </p:cTn>
                              </p:par>
                              <p:par>
                                <p:cTn id="15" presetID="10" presetClass="entr" presetSubtype="0" fill="hold" grpId="0" nodeType="withEffect">
                                  <p:stCondLst>
                                    <p:cond delay="0"/>
                                  </p:stCondLst>
                                  <p:childTnLst>
                                    <p:set>
                                      <p:cBhvr>
                                        <p:cTn id="16" dur="1" fill="hold">
                                          <p:stCondLst>
                                            <p:cond delay="0"/>
                                          </p:stCondLst>
                                        </p:cTn>
                                        <p:tgtEl>
                                          <p:spTgt spid="127"/>
                                        </p:tgtEl>
                                        <p:attrNameLst>
                                          <p:attrName>style.visibility</p:attrName>
                                        </p:attrNameLst>
                                      </p:cBhvr>
                                      <p:to>
                                        <p:strVal val="visible"/>
                                      </p:to>
                                    </p:set>
                                    <p:animEffect transition="in" filter="fade">
                                      <p:cBhvr>
                                        <p:cTn id="17" dur="1000"/>
                                        <p:tgtEl>
                                          <p:spTgt spid="127"/>
                                        </p:tgtEl>
                                      </p:cBhvr>
                                    </p:animEffect>
                                  </p:childTnLst>
                                </p:cTn>
                              </p:par>
                              <p:par>
                                <p:cTn id="18" presetID="42" presetClass="path" presetSubtype="0" decel="100000" fill="hold" grpId="1" nodeType="withEffect">
                                  <p:stCondLst>
                                    <p:cond delay="0"/>
                                  </p:stCondLst>
                                  <p:childTnLst>
                                    <p:animMotion origin="layout" path="M -4.16667E-6 -4.44444E-6 L -0.00299 0.01181 " pathEditMode="relative" rAng="0" ptsTypes="AA">
                                      <p:cBhvr>
                                        <p:cTn id="19" dur="750" spd="-100000" fill="hold"/>
                                        <p:tgtEl>
                                          <p:spTgt spid="127"/>
                                        </p:tgtEl>
                                        <p:attrNameLst>
                                          <p:attrName>ppt_x</p:attrName>
                                          <p:attrName>ppt_y</p:attrName>
                                        </p:attrNameLst>
                                      </p:cBhvr>
                                      <p:rCtr x="-156" y="579"/>
                                    </p:animMotion>
                                  </p:childTnLst>
                                </p:cTn>
                              </p:par>
                              <p:par>
                                <p:cTn id="20" presetID="10" presetClass="entr" presetSubtype="0" fill="hold" grpId="0" nodeType="withEffect">
                                  <p:stCondLst>
                                    <p:cond delay="0"/>
                                  </p:stCondLst>
                                  <p:childTnLst>
                                    <p:set>
                                      <p:cBhvr>
                                        <p:cTn id="21" dur="1" fill="hold">
                                          <p:stCondLst>
                                            <p:cond delay="0"/>
                                          </p:stCondLst>
                                        </p:cTn>
                                        <p:tgtEl>
                                          <p:spTgt spid="125"/>
                                        </p:tgtEl>
                                        <p:attrNameLst>
                                          <p:attrName>style.visibility</p:attrName>
                                        </p:attrNameLst>
                                      </p:cBhvr>
                                      <p:to>
                                        <p:strVal val="visible"/>
                                      </p:to>
                                    </p:set>
                                    <p:animEffect transition="in" filter="fade">
                                      <p:cBhvr>
                                        <p:cTn id="22" dur="1000"/>
                                        <p:tgtEl>
                                          <p:spTgt spid="125"/>
                                        </p:tgtEl>
                                      </p:cBhvr>
                                    </p:animEffect>
                                  </p:childTnLst>
                                </p:cTn>
                              </p:par>
                              <p:par>
                                <p:cTn id="23" presetID="42" presetClass="path" presetSubtype="0" decel="100000" fill="hold" grpId="1" nodeType="withEffect">
                                  <p:stCondLst>
                                    <p:cond delay="0"/>
                                  </p:stCondLst>
                                  <p:childTnLst>
                                    <p:animMotion origin="layout" path="M -4.16667E-7 3.7037E-6 L -4.16667E-7 0.01458 " pathEditMode="relative" rAng="0" ptsTypes="AA">
                                      <p:cBhvr>
                                        <p:cTn id="24" dur="750" spd="-100000" fill="hold"/>
                                        <p:tgtEl>
                                          <p:spTgt spid="125"/>
                                        </p:tgtEl>
                                        <p:attrNameLst>
                                          <p:attrName>ppt_x</p:attrName>
                                          <p:attrName>ppt_y</p:attrName>
                                        </p:attrNameLst>
                                      </p:cBhvr>
                                      <p:rCtr x="0" y="718"/>
                                    </p:animMotion>
                                  </p:childTnLst>
                                </p:cTn>
                              </p:par>
                              <p:par>
                                <p:cTn id="25" presetID="10" presetClass="entr" presetSubtype="0" fill="hold" grpId="0" nodeType="withEffect">
                                  <p:stCondLst>
                                    <p:cond delay="0"/>
                                  </p:stCondLst>
                                  <p:childTnLst>
                                    <p:set>
                                      <p:cBhvr>
                                        <p:cTn id="26" dur="1" fill="hold">
                                          <p:stCondLst>
                                            <p:cond delay="0"/>
                                          </p:stCondLst>
                                        </p:cTn>
                                        <p:tgtEl>
                                          <p:spTgt spid="132"/>
                                        </p:tgtEl>
                                        <p:attrNameLst>
                                          <p:attrName>style.visibility</p:attrName>
                                        </p:attrNameLst>
                                      </p:cBhvr>
                                      <p:to>
                                        <p:strVal val="visible"/>
                                      </p:to>
                                    </p:set>
                                    <p:animEffect transition="in" filter="fade">
                                      <p:cBhvr>
                                        <p:cTn id="27" dur="1000"/>
                                        <p:tgtEl>
                                          <p:spTgt spid="132"/>
                                        </p:tgtEl>
                                      </p:cBhvr>
                                    </p:animEffect>
                                  </p:childTnLst>
                                </p:cTn>
                              </p:par>
                              <p:par>
                                <p:cTn id="28" presetID="42" presetClass="path" presetSubtype="0" decel="100000" fill="hold" grpId="1" nodeType="withEffect">
                                  <p:stCondLst>
                                    <p:cond delay="0"/>
                                  </p:stCondLst>
                                  <p:childTnLst>
                                    <p:animMotion origin="layout" path="M 3.54167E-6 -4.44444E-6 L 0.00273 0.0125 " pathEditMode="relative" rAng="0" ptsTypes="AA">
                                      <p:cBhvr>
                                        <p:cTn id="29" dur="750" spd="-100000" fill="hold"/>
                                        <p:tgtEl>
                                          <p:spTgt spid="132"/>
                                        </p:tgtEl>
                                        <p:attrNameLst>
                                          <p:attrName>ppt_x</p:attrName>
                                          <p:attrName>ppt_y</p:attrName>
                                        </p:attrNameLst>
                                      </p:cBhvr>
                                      <p:rCtr x="130" y="625"/>
                                    </p:animMotion>
                                  </p:childTnLst>
                                </p:cTn>
                              </p:par>
                              <p:par>
                                <p:cTn id="30" presetID="10" presetClass="entr" presetSubtype="0" fill="hold" grpId="0" nodeType="withEffect">
                                  <p:stCondLst>
                                    <p:cond delay="0"/>
                                  </p:stCondLst>
                                  <p:childTnLst>
                                    <p:set>
                                      <p:cBhvr>
                                        <p:cTn id="31" dur="1" fill="hold">
                                          <p:stCondLst>
                                            <p:cond delay="0"/>
                                          </p:stCondLst>
                                        </p:cTn>
                                        <p:tgtEl>
                                          <p:spTgt spid="128"/>
                                        </p:tgtEl>
                                        <p:attrNameLst>
                                          <p:attrName>style.visibility</p:attrName>
                                        </p:attrNameLst>
                                      </p:cBhvr>
                                      <p:to>
                                        <p:strVal val="visible"/>
                                      </p:to>
                                    </p:set>
                                    <p:animEffect transition="in" filter="fade">
                                      <p:cBhvr>
                                        <p:cTn id="32" dur="1000"/>
                                        <p:tgtEl>
                                          <p:spTgt spid="128"/>
                                        </p:tgtEl>
                                      </p:cBhvr>
                                    </p:animEffect>
                                  </p:childTnLst>
                                </p:cTn>
                              </p:par>
                              <p:par>
                                <p:cTn id="33" presetID="42" presetClass="path" presetSubtype="0" decel="100000" fill="hold" grpId="1" nodeType="withEffect">
                                  <p:stCondLst>
                                    <p:cond delay="0"/>
                                  </p:stCondLst>
                                  <p:childTnLst>
                                    <p:animMotion origin="layout" path="M 2.70833E-6 4.07407E-6 L 0.00703 0.00879 " pathEditMode="relative" rAng="0" ptsTypes="AA">
                                      <p:cBhvr>
                                        <p:cTn id="34" dur="750" spd="-100000" fill="hold"/>
                                        <p:tgtEl>
                                          <p:spTgt spid="128"/>
                                        </p:tgtEl>
                                        <p:attrNameLst>
                                          <p:attrName>ppt_x</p:attrName>
                                          <p:attrName>ppt_y</p:attrName>
                                        </p:attrNameLst>
                                      </p:cBhvr>
                                      <p:rCtr x="352" y="440"/>
                                    </p:animMotion>
                                  </p:childTnLst>
                                </p:cTn>
                              </p:par>
                              <p:par>
                                <p:cTn id="35" presetID="10" presetClass="entr" presetSubtype="0" fill="hold" grpId="0" nodeType="withEffect">
                                  <p:stCondLst>
                                    <p:cond delay="0"/>
                                  </p:stCondLst>
                                  <p:childTnLst>
                                    <p:set>
                                      <p:cBhvr>
                                        <p:cTn id="36" dur="1" fill="hold">
                                          <p:stCondLst>
                                            <p:cond delay="0"/>
                                          </p:stCondLst>
                                        </p:cTn>
                                        <p:tgtEl>
                                          <p:spTgt spid="129"/>
                                        </p:tgtEl>
                                        <p:attrNameLst>
                                          <p:attrName>style.visibility</p:attrName>
                                        </p:attrNameLst>
                                      </p:cBhvr>
                                      <p:to>
                                        <p:strVal val="visible"/>
                                      </p:to>
                                    </p:set>
                                    <p:animEffect transition="in" filter="fade">
                                      <p:cBhvr>
                                        <p:cTn id="37" dur="1000"/>
                                        <p:tgtEl>
                                          <p:spTgt spid="129"/>
                                        </p:tgtEl>
                                      </p:cBhvr>
                                    </p:animEffect>
                                  </p:childTnLst>
                                </p:cTn>
                              </p:par>
                              <p:par>
                                <p:cTn id="38" presetID="42" presetClass="path" presetSubtype="0" decel="100000" fill="hold" grpId="1" nodeType="withEffect">
                                  <p:stCondLst>
                                    <p:cond delay="0"/>
                                  </p:stCondLst>
                                  <p:childTnLst>
                                    <p:animMotion origin="layout" path="M -3.33333E-6 4.07407E-6 L -0.00742 0.00833 " pathEditMode="relative" rAng="0" ptsTypes="AA">
                                      <p:cBhvr>
                                        <p:cTn id="39" dur="750" spd="-100000" fill="hold"/>
                                        <p:tgtEl>
                                          <p:spTgt spid="129"/>
                                        </p:tgtEl>
                                        <p:attrNameLst>
                                          <p:attrName>ppt_x</p:attrName>
                                          <p:attrName>ppt_y</p:attrName>
                                        </p:attrNameLst>
                                      </p:cBhvr>
                                      <p:rCtr x="-378" y="417"/>
                                    </p:animMotion>
                                  </p:childTnLst>
                                </p:cTn>
                              </p:par>
                              <p:par>
                                <p:cTn id="40" presetID="10" presetClass="entr" presetSubtype="0" fill="hold" grpId="0" nodeType="withEffect">
                                  <p:stCondLst>
                                    <p:cond delay="0"/>
                                  </p:stCondLst>
                                  <p:childTnLst>
                                    <p:set>
                                      <p:cBhvr>
                                        <p:cTn id="41" dur="1" fill="hold">
                                          <p:stCondLst>
                                            <p:cond delay="0"/>
                                          </p:stCondLst>
                                        </p:cTn>
                                        <p:tgtEl>
                                          <p:spTgt spid="133"/>
                                        </p:tgtEl>
                                        <p:attrNameLst>
                                          <p:attrName>style.visibility</p:attrName>
                                        </p:attrNameLst>
                                      </p:cBhvr>
                                      <p:to>
                                        <p:strVal val="visible"/>
                                      </p:to>
                                    </p:set>
                                    <p:animEffect transition="in" filter="fade">
                                      <p:cBhvr>
                                        <p:cTn id="42" dur="500"/>
                                        <p:tgtEl>
                                          <p:spTgt spid="133"/>
                                        </p:tgtEl>
                                      </p:cBhvr>
                                    </p:animEffect>
                                  </p:childTnLst>
                                </p:cTn>
                              </p:par>
                              <p:par>
                                <p:cTn id="43" presetID="63" presetClass="path" presetSubtype="0" decel="100000" fill="hold" grpId="1" nodeType="withEffect">
                                  <p:stCondLst>
                                    <p:cond delay="0"/>
                                  </p:stCondLst>
                                  <p:childTnLst>
                                    <p:animMotion origin="layout" path="M 5E-6 -4.81481E-6 L 0.00873 -4.81481E-6 " pathEditMode="relative" rAng="0" ptsTypes="AA">
                                      <p:cBhvr>
                                        <p:cTn id="44" dur="750" spd="-100000" fill="hold"/>
                                        <p:tgtEl>
                                          <p:spTgt spid="133"/>
                                        </p:tgtEl>
                                        <p:attrNameLst>
                                          <p:attrName>ppt_x</p:attrName>
                                          <p:attrName>ppt_y</p:attrName>
                                        </p:attrNameLst>
                                      </p:cBhvr>
                                      <p:rCtr x="430" y="0"/>
                                    </p:animMotion>
                                  </p:childTnLst>
                                </p:cTn>
                              </p:par>
                              <p:par>
                                <p:cTn id="45" presetID="10" presetClass="entr" presetSubtype="0" fill="hold" grpId="0" nodeType="withEffect">
                                  <p:stCondLst>
                                    <p:cond delay="0"/>
                                  </p:stCondLst>
                                  <p:childTnLst>
                                    <p:set>
                                      <p:cBhvr>
                                        <p:cTn id="46" dur="1" fill="hold">
                                          <p:stCondLst>
                                            <p:cond delay="0"/>
                                          </p:stCondLst>
                                        </p:cTn>
                                        <p:tgtEl>
                                          <p:spTgt spid="130"/>
                                        </p:tgtEl>
                                        <p:attrNameLst>
                                          <p:attrName>style.visibility</p:attrName>
                                        </p:attrNameLst>
                                      </p:cBhvr>
                                      <p:to>
                                        <p:strVal val="visible"/>
                                      </p:to>
                                    </p:set>
                                    <p:animEffect transition="in" filter="fade">
                                      <p:cBhvr>
                                        <p:cTn id="47" dur="500"/>
                                        <p:tgtEl>
                                          <p:spTgt spid="130"/>
                                        </p:tgtEl>
                                      </p:cBhvr>
                                    </p:animEffect>
                                  </p:childTnLst>
                                </p:cTn>
                              </p:par>
                              <p:par>
                                <p:cTn id="48" presetID="63" presetClass="path" presetSubtype="0" decel="100000" fill="hold" grpId="1" nodeType="withEffect">
                                  <p:stCondLst>
                                    <p:cond delay="0"/>
                                  </p:stCondLst>
                                  <p:childTnLst>
                                    <p:animMotion origin="layout" path="M -0.00873 -4.81481E-6 L 4.16667E-6 -4.81481E-6 " pathEditMode="relative" rAng="0" ptsTypes="AA">
                                      <p:cBhvr>
                                        <p:cTn id="49" dur="750" fill="hold"/>
                                        <p:tgtEl>
                                          <p:spTgt spid="130"/>
                                        </p:tgtEl>
                                        <p:attrNameLst>
                                          <p:attrName>ppt_x</p:attrName>
                                          <p:attrName>ppt_y</p:attrName>
                                        </p:attrNameLst>
                                      </p:cBhvr>
                                      <p:rCtr x="430" y="0"/>
                                    </p:animMotion>
                                  </p:childTnLst>
                                </p:cTn>
                              </p:par>
                              <p:par>
                                <p:cTn id="50" presetID="10" presetClass="entr" presetSubtype="0" fill="hold" grpId="0" nodeType="withEffect">
                                  <p:stCondLst>
                                    <p:cond delay="0"/>
                                  </p:stCondLst>
                                  <p:childTnLst>
                                    <p:set>
                                      <p:cBhvr>
                                        <p:cTn id="51" dur="1" fill="hold">
                                          <p:stCondLst>
                                            <p:cond delay="0"/>
                                          </p:stCondLst>
                                        </p:cTn>
                                        <p:tgtEl>
                                          <p:spTgt spid="134"/>
                                        </p:tgtEl>
                                        <p:attrNameLst>
                                          <p:attrName>style.visibility</p:attrName>
                                        </p:attrNameLst>
                                      </p:cBhvr>
                                      <p:to>
                                        <p:strVal val="visible"/>
                                      </p:to>
                                    </p:set>
                                    <p:animEffect transition="in" filter="fade">
                                      <p:cBhvr>
                                        <p:cTn id="52" dur="500"/>
                                        <p:tgtEl>
                                          <p:spTgt spid="134"/>
                                        </p:tgtEl>
                                      </p:cBhvr>
                                    </p:animEffect>
                                  </p:childTnLst>
                                </p:cTn>
                              </p:par>
                              <p:par>
                                <p:cTn id="53" presetID="63" presetClass="path" presetSubtype="0" decel="100000" fill="hold" grpId="1" nodeType="withEffect">
                                  <p:stCondLst>
                                    <p:cond delay="0"/>
                                  </p:stCondLst>
                                  <p:childTnLst>
                                    <p:animMotion origin="layout" path="M 1.66667E-6 -2.96296E-6 L 0.01328 -2.96296E-6 " pathEditMode="relative" rAng="0" ptsTypes="AA">
                                      <p:cBhvr>
                                        <p:cTn id="54" dur="750" spd="-100000" fill="hold"/>
                                        <p:tgtEl>
                                          <p:spTgt spid="134"/>
                                        </p:tgtEl>
                                        <p:attrNameLst>
                                          <p:attrName>ppt_x</p:attrName>
                                          <p:attrName>ppt_y</p:attrName>
                                        </p:attrNameLst>
                                      </p:cBhvr>
                                      <p:rCtr x="664" y="0"/>
                                    </p:animMotion>
                                  </p:childTnLst>
                                </p:cTn>
                              </p:par>
                              <p:par>
                                <p:cTn id="55" presetID="10" presetClass="entr" presetSubtype="0" fill="hold" grpId="0" nodeType="withEffect">
                                  <p:stCondLst>
                                    <p:cond delay="0"/>
                                  </p:stCondLst>
                                  <p:childTnLst>
                                    <p:set>
                                      <p:cBhvr>
                                        <p:cTn id="56" dur="1" fill="hold">
                                          <p:stCondLst>
                                            <p:cond delay="0"/>
                                          </p:stCondLst>
                                        </p:cTn>
                                        <p:tgtEl>
                                          <p:spTgt spid="131"/>
                                        </p:tgtEl>
                                        <p:attrNameLst>
                                          <p:attrName>style.visibility</p:attrName>
                                        </p:attrNameLst>
                                      </p:cBhvr>
                                      <p:to>
                                        <p:strVal val="visible"/>
                                      </p:to>
                                    </p:set>
                                    <p:animEffect transition="in" filter="fade">
                                      <p:cBhvr>
                                        <p:cTn id="57" dur="500"/>
                                        <p:tgtEl>
                                          <p:spTgt spid="131"/>
                                        </p:tgtEl>
                                      </p:cBhvr>
                                    </p:animEffect>
                                  </p:childTnLst>
                                </p:cTn>
                              </p:par>
                              <p:par>
                                <p:cTn id="58" presetID="63" presetClass="path" presetSubtype="0" decel="100000" fill="hold" grpId="1" nodeType="withEffect">
                                  <p:stCondLst>
                                    <p:cond delay="0"/>
                                  </p:stCondLst>
                                  <p:childTnLst>
                                    <p:animMotion origin="layout" path="M -0.01146 -2.96296E-6 L -2.29167E-6 -2.96296E-6 " pathEditMode="relative" rAng="0" ptsTypes="AA">
                                      <p:cBhvr>
                                        <p:cTn id="59" dur="750" fill="hold"/>
                                        <p:tgtEl>
                                          <p:spTgt spid="131"/>
                                        </p:tgtEl>
                                        <p:attrNameLst>
                                          <p:attrName>ppt_x</p:attrName>
                                          <p:attrName>ppt_y</p:attrName>
                                        </p:attrNameLst>
                                      </p:cBhvr>
                                      <p:rCtr x="573" y="0"/>
                                    </p:animMotion>
                                  </p:childTnLst>
                                </p:cTn>
                              </p:par>
                              <p:par>
                                <p:cTn id="60" presetID="10" presetClass="entr" presetSubtype="0" fill="hold" grpId="0" nodeType="withEffect">
                                  <p:stCondLst>
                                    <p:cond delay="100"/>
                                  </p:stCondLst>
                                  <p:childTnLst>
                                    <p:set>
                                      <p:cBhvr>
                                        <p:cTn id="61" dur="1" fill="hold">
                                          <p:stCondLst>
                                            <p:cond delay="0"/>
                                          </p:stCondLst>
                                        </p:cTn>
                                        <p:tgtEl>
                                          <p:spTgt spid="122"/>
                                        </p:tgtEl>
                                        <p:attrNameLst>
                                          <p:attrName>style.visibility</p:attrName>
                                        </p:attrNameLst>
                                      </p:cBhvr>
                                      <p:to>
                                        <p:strVal val="visible"/>
                                      </p:to>
                                    </p:set>
                                    <p:animEffect transition="in" filter="fade">
                                      <p:cBhvr>
                                        <p:cTn id="62" dur="500"/>
                                        <p:tgtEl>
                                          <p:spTgt spid="122"/>
                                        </p:tgtEl>
                                      </p:cBhvr>
                                    </p:animEffect>
                                  </p:childTnLst>
                                </p:cTn>
                              </p:par>
                              <p:par>
                                <p:cTn id="63" presetID="42" presetClass="path" presetSubtype="0" decel="100000" fill="hold" grpId="1" nodeType="withEffect">
                                  <p:stCondLst>
                                    <p:cond delay="100"/>
                                  </p:stCondLst>
                                  <p:childTnLst>
                                    <p:animMotion origin="layout" path="M 1.25E-6 1.11111E-6 L 0.00599 0.01366 " pathEditMode="relative" rAng="0" ptsTypes="AA">
                                      <p:cBhvr>
                                        <p:cTn id="64" dur="750" spd="-100000" fill="hold"/>
                                        <p:tgtEl>
                                          <p:spTgt spid="122"/>
                                        </p:tgtEl>
                                        <p:attrNameLst>
                                          <p:attrName>ppt_x</p:attrName>
                                          <p:attrName>ppt_y</p:attrName>
                                        </p:attrNameLst>
                                      </p:cBhvr>
                                      <p:rCtr x="299" y="671"/>
                                    </p:animMotion>
                                  </p:childTnLst>
                                </p:cTn>
                              </p:par>
                              <p:par>
                                <p:cTn id="65" presetID="10" presetClass="entr" presetSubtype="0" fill="hold" grpId="0" nodeType="withEffect">
                                  <p:stCondLst>
                                    <p:cond delay="100"/>
                                  </p:stCondLst>
                                  <p:childTnLst>
                                    <p:set>
                                      <p:cBhvr>
                                        <p:cTn id="66" dur="1" fill="hold">
                                          <p:stCondLst>
                                            <p:cond delay="0"/>
                                          </p:stCondLst>
                                        </p:cTn>
                                        <p:tgtEl>
                                          <p:spTgt spid="126"/>
                                        </p:tgtEl>
                                        <p:attrNameLst>
                                          <p:attrName>style.visibility</p:attrName>
                                        </p:attrNameLst>
                                      </p:cBhvr>
                                      <p:to>
                                        <p:strVal val="visible"/>
                                      </p:to>
                                    </p:set>
                                    <p:animEffect transition="in" filter="fade">
                                      <p:cBhvr>
                                        <p:cTn id="67" dur="500"/>
                                        <p:tgtEl>
                                          <p:spTgt spid="126"/>
                                        </p:tgtEl>
                                      </p:cBhvr>
                                    </p:animEffect>
                                  </p:childTnLst>
                                </p:cTn>
                              </p:par>
                              <p:par>
                                <p:cTn id="68" presetID="42" presetClass="path" presetSubtype="0" decel="100000" fill="hold" grpId="1" nodeType="withEffect">
                                  <p:stCondLst>
                                    <p:cond delay="100"/>
                                  </p:stCondLst>
                                  <p:childTnLst>
                                    <p:animMotion origin="layout" path="M -1.875E-6 1.11111E-6 L -0.00456 0.01273 " pathEditMode="relative" rAng="0" ptsTypes="AA">
                                      <p:cBhvr>
                                        <p:cTn id="69" dur="750" spd="-100000" fill="hold"/>
                                        <p:tgtEl>
                                          <p:spTgt spid="126"/>
                                        </p:tgtEl>
                                        <p:attrNameLst>
                                          <p:attrName>ppt_x</p:attrName>
                                          <p:attrName>ppt_y</p:attrName>
                                        </p:attrNameLst>
                                      </p:cBhvr>
                                      <p:rCtr x="-234" y="625"/>
                                    </p:animMotion>
                                  </p:childTnLst>
                                </p:cTn>
                              </p:par>
                              <p:par>
                                <p:cTn id="70" presetID="10" presetClass="entr" presetSubtype="0" fill="hold" nodeType="withEffect">
                                  <p:stCondLst>
                                    <p:cond delay="500"/>
                                  </p:stCondLst>
                                  <p:childTnLst>
                                    <p:set>
                                      <p:cBhvr>
                                        <p:cTn id="71" dur="1" fill="hold">
                                          <p:stCondLst>
                                            <p:cond delay="0"/>
                                          </p:stCondLst>
                                        </p:cTn>
                                        <p:tgtEl>
                                          <p:spTgt spid="119"/>
                                        </p:tgtEl>
                                        <p:attrNameLst>
                                          <p:attrName>style.visibility</p:attrName>
                                        </p:attrNameLst>
                                      </p:cBhvr>
                                      <p:to>
                                        <p:strVal val="visible"/>
                                      </p:to>
                                    </p:set>
                                    <p:animEffect transition="in" filter="fade">
                                      <p:cBhvr>
                                        <p:cTn id="72" dur="1000"/>
                                        <p:tgtEl>
                                          <p:spTgt spid="119"/>
                                        </p:tgtEl>
                                      </p:cBhvr>
                                    </p:animEffect>
                                  </p:childTnLst>
                                </p:cTn>
                              </p:par>
                            </p:childTnLst>
                          </p:cTn>
                        </p:par>
                        <p:par>
                          <p:cTn id="73" fill="hold">
                            <p:stCondLst>
                              <p:cond delay="1500"/>
                            </p:stCondLst>
                            <p:childTnLst>
                              <p:par>
                                <p:cTn id="74" presetID="1" presetClass="entr" presetSubtype="0" fill="hold" nodeType="afterEffect">
                                  <p:stCondLst>
                                    <p:cond delay="0"/>
                                  </p:stCondLst>
                                  <p:childTnLst>
                                    <p:set>
                                      <p:cBhvr>
                                        <p:cTn id="75" dur="1" fill="hold">
                                          <p:stCondLst>
                                            <p:cond delay="0"/>
                                          </p:stCondLst>
                                        </p:cTn>
                                        <p:tgtEl>
                                          <p:spTgt spid="10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 grpId="0" animBg="1"/>
      <p:bldP spid="122" grpId="1" animBg="1"/>
      <p:bldP spid="123" grpId="0" animBg="1"/>
      <p:bldP spid="123" grpId="1" animBg="1"/>
      <p:bldP spid="124" grpId="0" animBg="1"/>
      <p:bldP spid="124" grpId="1" animBg="1"/>
      <p:bldP spid="125" grpId="0" animBg="1"/>
      <p:bldP spid="125" grpId="1" animBg="1"/>
      <p:bldP spid="126" grpId="0" animBg="1"/>
      <p:bldP spid="126" grpId="1" animBg="1"/>
      <p:bldP spid="127" grpId="0" animBg="1"/>
      <p:bldP spid="127" grpId="1" animBg="1"/>
      <p:bldP spid="128" grpId="0" animBg="1"/>
      <p:bldP spid="128" grpId="1" animBg="1"/>
      <p:bldP spid="129" grpId="0" animBg="1"/>
      <p:bldP spid="129" grpId="1" animBg="1"/>
      <p:bldP spid="130" grpId="0" animBg="1"/>
      <p:bldP spid="130" grpId="1" animBg="1"/>
      <p:bldP spid="131" grpId="0" animBg="1"/>
      <p:bldP spid="131" grpId="1" animBg="1"/>
      <p:bldP spid="132" grpId="0" animBg="1"/>
      <p:bldP spid="132" grpId="1" animBg="1"/>
      <p:bldP spid="133" grpId="0" animBg="1"/>
      <p:bldP spid="133" grpId="1" animBg="1"/>
      <p:bldP spid="134" grpId="0" animBg="1"/>
      <p:bldP spid="134" grpId="1" animBg="1"/>
    </p:bld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Title (A) Full Blee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D1DA5-55F2-40D3-B419-631F81A7BC28}"/>
              </a:ext>
            </a:extLst>
          </p:cNvPr>
          <p:cNvSpPr>
            <a:spLocks noGrp="1"/>
          </p:cNvSpPr>
          <p:nvPr>
            <p:ph type="title" hasCustomPrompt="1"/>
          </p:nvPr>
        </p:nvSpPr>
        <p:spPr>
          <a:xfrm>
            <a:off x="593768" y="2189852"/>
            <a:ext cx="5552921" cy="1181862"/>
          </a:xfrm>
          <a:prstGeom prst="rect">
            <a:avLst/>
          </a:prstGeom>
        </p:spPr>
        <p:txBody>
          <a:bodyPr anchor="b"/>
          <a:lstStyle>
            <a:lvl1pPr>
              <a:lnSpc>
                <a:spcPct val="80000"/>
              </a:lnSpc>
              <a:defRPr sz="4800">
                <a:solidFill>
                  <a:schemeClr val="accent1"/>
                </a:solidFill>
              </a:defRPr>
            </a:lvl1pPr>
          </a:lstStyle>
          <a:p>
            <a:r>
              <a:rPr lang="en-US"/>
              <a:t>Presentation title</a:t>
            </a:r>
            <a:br>
              <a:rPr lang="en-US"/>
            </a:br>
            <a:r>
              <a:rPr lang="en-US"/>
              <a:t>goes here</a:t>
            </a:r>
            <a:endParaRPr lang="en-GB"/>
          </a:p>
        </p:txBody>
      </p:sp>
      <p:sp>
        <p:nvSpPr>
          <p:cNvPr id="83" name="Text Placeholder 82">
            <a:extLst>
              <a:ext uri="{FF2B5EF4-FFF2-40B4-BE49-F238E27FC236}">
                <a16:creationId xmlns:a16="http://schemas.microsoft.com/office/drawing/2014/main" id="{3ECE1A18-33D8-41AB-85CB-0266D4467476}"/>
              </a:ext>
            </a:extLst>
          </p:cNvPr>
          <p:cNvSpPr>
            <a:spLocks noGrp="1"/>
          </p:cNvSpPr>
          <p:nvPr>
            <p:ph type="body" sz="quarter" idx="11" hasCustomPrompt="1"/>
          </p:nvPr>
        </p:nvSpPr>
        <p:spPr>
          <a:xfrm>
            <a:off x="593768" y="3599135"/>
            <a:ext cx="5552920" cy="984885"/>
          </a:xfrm>
          <a:prstGeom prst="rect">
            <a:avLst/>
          </a:prstGeom>
        </p:spPr>
        <p:txBody>
          <a:bodyPr>
            <a:spAutoFit/>
          </a:bodyPr>
          <a:lstStyle>
            <a:lvl1pPr>
              <a:spcAft>
                <a:spcPts val="1200"/>
              </a:spcAft>
              <a:defRPr b="0">
                <a:solidFill>
                  <a:schemeClr val="accent2"/>
                </a:solidFill>
              </a:defRPr>
            </a:lvl1pPr>
            <a:lvl2pPr>
              <a:defRPr>
                <a:solidFill>
                  <a:schemeClr val="accent2"/>
                </a:solidFill>
              </a:defRPr>
            </a:lvl2pPr>
          </a:lstStyle>
          <a:p>
            <a:pPr lvl="0"/>
            <a:r>
              <a:rPr lang="en-US"/>
              <a:t>Subtitle goes here</a:t>
            </a:r>
          </a:p>
          <a:p>
            <a:pPr lvl="1"/>
            <a:r>
              <a:rPr lang="en-US"/>
              <a:t>Presenter Name</a:t>
            </a:r>
            <a:br>
              <a:rPr lang="en-US"/>
            </a:br>
            <a:endParaRPr lang="en-US"/>
          </a:p>
        </p:txBody>
      </p:sp>
      <p:sp>
        <p:nvSpPr>
          <p:cNvPr id="6" name="Picture Placeholder 5">
            <a:extLst>
              <a:ext uri="{FF2B5EF4-FFF2-40B4-BE49-F238E27FC236}">
                <a16:creationId xmlns:a16="http://schemas.microsoft.com/office/drawing/2014/main" id="{F2F4CDCB-E2CD-4FFF-BD24-9F21EAD6942C}"/>
              </a:ext>
            </a:extLst>
          </p:cNvPr>
          <p:cNvSpPr>
            <a:spLocks noGrp="1"/>
          </p:cNvSpPr>
          <p:nvPr>
            <p:ph type="pic" sz="quarter" idx="13" hasCustomPrompt="1"/>
          </p:nvPr>
        </p:nvSpPr>
        <p:spPr>
          <a:xfrm>
            <a:off x="0" y="0"/>
            <a:ext cx="12192000" cy="6858000"/>
          </a:xfrm>
          <a:prstGeom prst="rect">
            <a:avLst/>
          </a:prstGeom>
          <a:solidFill>
            <a:schemeClr val="bg2">
              <a:alpha val="50000"/>
            </a:schemeClr>
          </a:solidFill>
        </p:spPr>
        <p:txBody>
          <a:bodyPr tIns="360000"/>
          <a:lstStyle>
            <a:lvl1pPr algn="ctr">
              <a:defRPr sz="1800" b="0">
                <a:solidFill>
                  <a:schemeClr val="tx2"/>
                </a:solidFill>
              </a:defRPr>
            </a:lvl1pPr>
          </a:lstStyle>
          <a:p>
            <a:r>
              <a:rPr lang="en-GB"/>
              <a:t>Click icon to insert an image and send this to back</a:t>
            </a:r>
          </a:p>
        </p:txBody>
      </p:sp>
      <p:sp>
        <p:nvSpPr>
          <p:cNvPr id="4" name="Text Placeholder 3">
            <a:extLst>
              <a:ext uri="{FF2B5EF4-FFF2-40B4-BE49-F238E27FC236}">
                <a16:creationId xmlns:a16="http://schemas.microsoft.com/office/drawing/2014/main" id="{F9AA874E-6B70-4A65-B741-156C5F3B8033}"/>
              </a:ext>
            </a:extLst>
          </p:cNvPr>
          <p:cNvSpPr>
            <a:spLocks noGrp="1"/>
          </p:cNvSpPr>
          <p:nvPr>
            <p:ph type="body" sz="quarter" idx="12"/>
          </p:nvPr>
        </p:nvSpPr>
        <p:spPr>
          <a:xfrm>
            <a:off x="7195200" y="1627200"/>
            <a:ext cx="4996800" cy="5230800"/>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p:spPr>
        <p:txBody>
          <a:bodyPr/>
          <a:lstStyle>
            <a:lvl1pPr>
              <a:defRPr>
                <a:noFill/>
              </a:defRPr>
            </a:lvl1pPr>
            <a:lvl2pPr>
              <a:defRPr>
                <a:noFill/>
              </a:defRPr>
            </a:lvl2pPr>
          </a:lstStyle>
          <a:p>
            <a:pPr lvl="0"/>
            <a:r>
              <a:rPr lang="en-US"/>
              <a:t>Click to edit Master text styles</a:t>
            </a:r>
          </a:p>
          <a:p>
            <a:pPr lvl="1"/>
            <a:r>
              <a:rPr lang="en-US"/>
              <a:t>Second level</a:t>
            </a:r>
          </a:p>
        </p:txBody>
      </p:sp>
      <p:pic>
        <p:nvPicPr>
          <p:cNvPr id="8" name="Picture 7">
            <a:extLst>
              <a:ext uri="{FF2B5EF4-FFF2-40B4-BE49-F238E27FC236}">
                <a16:creationId xmlns:a16="http://schemas.microsoft.com/office/drawing/2014/main" id="{D1BA6416-6FBF-1545-83D8-B1420D4DA78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49591" y="5798570"/>
            <a:ext cx="795560" cy="841562"/>
          </a:xfrm>
          <a:prstGeom prst="rect">
            <a:avLst/>
          </a:prstGeom>
        </p:spPr>
      </p:pic>
    </p:spTree>
    <p:extLst>
      <p:ext uri="{BB962C8B-B14F-4D97-AF65-F5344CB8AC3E}">
        <p14:creationId xmlns:p14="http://schemas.microsoft.com/office/powerpoint/2010/main" val="484779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25000" decel="75000" fill="hold" grpId="0" nodeType="withEffect">
                                  <p:stCondLst>
                                    <p:cond delay="0"/>
                                  </p:stCondLst>
                                  <p:childTnLst>
                                    <p:animScale>
                                      <p:cBhvr>
                                        <p:cTn id="6" dur="3000" fill="hold"/>
                                        <p:tgtEl>
                                          <p:spTgt spid="6"/>
                                        </p:tgtEl>
                                      </p:cBhvr>
                                      <p:by x="104000" y="104000"/>
                                    </p:animScale>
                                  </p:childTnLst>
                                </p:cTn>
                              </p:par>
                              <p:par>
                                <p:cTn id="7" presetID="10"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animEffect transition="in" filter="fade">
                                      <p:cBhvr>
                                        <p:cTn id="9" dur="750"/>
                                        <p:tgtEl>
                                          <p:spTgt spid="2"/>
                                        </p:tgtEl>
                                      </p:cBhvr>
                                    </p:animEffect>
                                  </p:childTnLst>
                                </p:cTn>
                              </p:par>
                              <p:par>
                                <p:cTn id="10" presetID="35" presetClass="path" presetSubtype="0" decel="100000" fill="hold" grpId="1" nodeType="withEffect">
                                  <p:stCondLst>
                                    <p:cond delay="0"/>
                                  </p:stCondLst>
                                  <p:childTnLst>
                                    <p:animMotion origin="layout" path="M -2.29167E-6 -4.07407E-6 L -0.03659 -4.07407E-6 " pathEditMode="relative" rAng="0" ptsTypes="AA">
                                      <p:cBhvr>
                                        <p:cTn id="11" dur="1000" spd="-100000" fill="hold"/>
                                        <p:tgtEl>
                                          <p:spTgt spid="2"/>
                                        </p:tgtEl>
                                        <p:attrNameLst>
                                          <p:attrName>ppt_x</p:attrName>
                                          <p:attrName>ppt_y</p:attrName>
                                        </p:attrNameLst>
                                      </p:cBhvr>
                                      <p:rCtr x="-1836" y="0"/>
                                    </p:animMotion>
                                  </p:childTnLst>
                                </p:cTn>
                              </p:par>
                              <p:par>
                                <p:cTn id="12" presetID="10" presetClass="entr" presetSubtype="0" fill="hold" grpId="0" nodeType="with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750"/>
                                        <p:tgtEl>
                                          <p:spTgt spid="4"/>
                                        </p:tgtEl>
                                      </p:cBhvr>
                                    </p:animEffect>
                                  </p:childTnLst>
                                </p:cTn>
                              </p:par>
                              <p:par>
                                <p:cTn id="15" presetID="35" presetClass="path" presetSubtype="0" decel="100000" fill="hold" grpId="1" nodeType="withEffect">
                                  <p:stCondLst>
                                    <p:cond delay="0"/>
                                  </p:stCondLst>
                                  <p:childTnLst>
                                    <p:animMotion origin="layout" path="M -2.08333E-6 1.48148E-6 L 0.02865 1.48148E-6 " pathEditMode="relative" rAng="0" ptsTypes="AA">
                                      <p:cBhvr>
                                        <p:cTn id="16" dur="1000" spd="-100000" fill="hold"/>
                                        <p:tgtEl>
                                          <p:spTgt spid="4"/>
                                        </p:tgtEl>
                                        <p:attrNameLst>
                                          <p:attrName>ppt_x</p:attrName>
                                          <p:attrName>ppt_y</p:attrName>
                                        </p:attrNameLst>
                                      </p:cBhvr>
                                      <p:rCtr x="1432" y="0"/>
                                    </p:animMotion>
                                  </p:childTnLst>
                                </p:cTn>
                              </p:par>
                              <p:par>
                                <p:cTn id="17" presetID="10" presetClass="entr" presetSubtype="0" fill="hold" grpId="0" nodeType="withEffect">
                                  <p:stCondLst>
                                    <p:cond delay="1000"/>
                                  </p:stCondLst>
                                  <p:childTnLst>
                                    <p:set>
                                      <p:cBhvr>
                                        <p:cTn id="18" dur="1" fill="hold">
                                          <p:stCondLst>
                                            <p:cond delay="0"/>
                                          </p:stCondLst>
                                        </p:cTn>
                                        <p:tgtEl>
                                          <p:spTgt spid="83"/>
                                        </p:tgtEl>
                                        <p:attrNameLst>
                                          <p:attrName>style.visibility</p:attrName>
                                        </p:attrNameLst>
                                      </p:cBhvr>
                                      <p:to>
                                        <p:strVal val="visible"/>
                                      </p:to>
                                    </p:set>
                                    <p:animEffect transition="in" filter="fade">
                                      <p:cBhvr>
                                        <p:cTn id="19"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83" grpId="0">
        <p:tmplLst>
          <p:tmpl>
            <p:tnLst>
              <p:par>
                <p:cTn presetID="10" presetClass="entr" presetSubtype="0" fill="hold" nodeType="withEffect">
                  <p:stCondLst>
                    <p:cond delay="1000"/>
                  </p:stCondLst>
                  <p:childTnLst>
                    <p:set>
                      <p:cBhvr>
                        <p:cTn dur="1" fill="hold">
                          <p:stCondLst>
                            <p:cond delay="0"/>
                          </p:stCondLst>
                        </p:cTn>
                        <p:tgtEl>
                          <p:spTgt spid="83"/>
                        </p:tgtEl>
                        <p:attrNameLst>
                          <p:attrName>style.visibility</p:attrName>
                        </p:attrNameLst>
                      </p:cBhvr>
                      <p:to>
                        <p:strVal val="visible"/>
                      </p:to>
                    </p:set>
                    <p:animEffect transition="in" filter="fade">
                      <p:cBhvr>
                        <p:cTn dur="500"/>
                        <p:tgtEl>
                          <p:spTgt spid="83"/>
                        </p:tgtEl>
                      </p:cBhvr>
                    </p:animEffect>
                  </p:childTnLst>
                </p:cTn>
              </p:par>
            </p:tnLst>
          </p:tmpl>
        </p:tmplLst>
      </p:bldP>
      <p:bldP spid="6" grpId="0" animBg="1"/>
      <p:bldP spid="4" grpId="0" animBg="1">
        <p:tmplLst>
          <p:tmpl>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50"/>
                        <p:tgtEl>
                          <p:spTgt spid="4"/>
                        </p:tgtEl>
                      </p:cBhvr>
                    </p:animEffect>
                  </p:childTnLst>
                </p:cTn>
              </p:par>
            </p:tnLst>
          </p:tmpl>
        </p:tmplLst>
      </p:bldP>
      <p:bldP spid="4" grpId="1" animBg="1">
        <p:tmplLst>
          <p:tmpl>
            <p:tnLst>
              <p:par>
                <p:cTn presetID="35" presetClass="path" presetSubtype="0" decel="100000" fill="hold" nodeType="withEffect">
                  <p:stCondLst>
                    <p:cond delay="0"/>
                  </p:stCondLst>
                  <p:childTnLst>
                    <p:animMotion origin="layout" path="M -2.08333E-6 1.48148E-6 L 0.02865 1.48148E-6 " pathEditMode="relative" rAng="0" ptsTypes="AA">
                      <p:cBhvr>
                        <p:cTn dur="1000" spd="-100000" fill="hold"/>
                        <p:tgtEl>
                          <p:spTgt spid="4"/>
                        </p:tgtEl>
                        <p:attrNameLst>
                          <p:attrName>ppt_x</p:attrName>
                          <p:attrName>ppt_y</p:attrName>
                        </p:attrNameLst>
                      </p:cBhvr>
                      <p:rCtr x="1432" y="0"/>
                    </p:animMotion>
                  </p:childTnLst>
                </p:cTn>
              </p:par>
            </p:tnLst>
          </p:tmpl>
        </p:tmplLst>
      </p:bldP>
    </p:bld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Title (B1) Red">
    <p:bg>
      <p:bgPr>
        <a:solidFill>
          <a:schemeClr val="accent1"/>
        </a:solidFill>
        <a:effectLst/>
      </p:bgPr>
    </p:bg>
    <p:spTree>
      <p:nvGrpSpPr>
        <p:cNvPr id="1" name=""/>
        <p:cNvGrpSpPr/>
        <p:nvPr/>
      </p:nvGrpSpPr>
      <p:grpSpPr>
        <a:xfrm>
          <a:off x="0" y="0"/>
          <a:ext cx="0" cy="0"/>
          <a:chOff x="0" y="0"/>
          <a:chExt cx="0" cy="0"/>
        </a:xfrm>
      </p:grpSpPr>
      <p:sp>
        <p:nvSpPr>
          <p:cNvPr id="33" name="Freeform: Shape 32">
            <a:extLst>
              <a:ext uri="{FF2B5EF4-FFF2-40B4-BE49-F238E27FC236}">
                <a16:creationId xmlns:a16="http://schemas.microsoft.com/office/drawing/2014/main" id="{704569BC-A902-428E-BB2D-80224904A57F}"/>
              </a:ext>
            </a:extLst>
          </p:cNvPr>
          <p:cNvSpPr>
            <a:spLocks/>
          </p:cNvSpPr>
          <p:nvPr/>
        </p:nvSpPr>
        <p:spPr bwMode="auto">
          <a:xfrm>
            <a:off x="3399650" y="1625597"/>
            <a:ext cx="4997428" cy="5232402"/>
          </a:xfrm>
          <a:custGeom>
            <a:avLst/>
            <a:gdLst>
              <a:gd name="connsiteX0" fmla="*/ 1715698 w 4997428"/>
              <a:gd name="connsiteY0" fmla="*/ 3352613 h 5232402"/>
              <a:gd name="connsiteX1" fmla="*/ 2156976 w 4997428"/>
              <a:gd name="connsiteY1" fmla="*/ 4593909 h 5232402"/>
              <a:gd name="connsiteX2" fmla="*/ 2675550 w 4997428"/>
              <a:gd name="connsiteY2" fmla="*/ 5232402 h 5232402"/>
              <a:gd name="connsiteX3" fmla="*/ 1556212 w 4997428"/>
              <a:gd name="connsiteY3" fmla="*/ 5232402 h 5232402"/>
              <a:gd name="connsiteX4" fmla="*/ 33267 w 4997428"/>
              <a:gd name="connsiteY4" fmla="*/ 4501998 h 5232402"/>
              <a:gd name="connsiteX5" fmla="*/ 32778 w 4997428"/>
              <a:gd name="connsiteY5" fmla="*/ 4501509 h 5232402"/>
              <a:gd name="connsiteX6" fmla="*/ 0 w 4997428"/>
              <a:gd name="connsiteY6" fmla="*/ 4392486 h 5232402"/>
              <a:gd name="connsiteX7" fmla="*/ 77786 w 4997428"/>
              <a:gd name="connsiteY7" fmla="*/ 4231641 h 5232402"/>
              <a:gd name="connsiteX8" fmla="*/ 150191 w 4997428"/>
              <a:gd name="connsiteY8" fmla="*/ 4183240 h 5232402"/>
              <a:gd name="connsiteX9" fmla="*/ 150680 w 4997428"/>
              <a:gd name="connsiteY9" fmla="*/ 4182752 h 5232402"/>
              <a:gd name="connsiteX10" fmla="*/ 151170 w 4997428"/>
              <a:gd name="connsiteY10" fmla="*/ 4182263 h 5232402"/>
              <a:gd name="connsiteX11" fmla="*/ 300382 w 4997428"/>
              <a:gd name="connsiteY11" fmla="*/ 4080573 h 5232402"/>
              <a:gd name="connsiteX12" fmla="*/ 353707 w 4997428"/>
              <a:gd name="connsiteY12" fmla="*/ 4045862 h 5232402"/>
              <a:gd name="connsiteX13" fmla="*/ 1076776 w 4997428"/>
              <a:gd name="connsiteY13" fmla="*/ 3635682 h 5232402"/>
              <a:gd name="connsiteX14" fmla="*/ 1715698 w 4997428"/>
              <a:gd name="connsiteY14" fmla="*/ 3352613 h 5232402"/>
              <a:gd name="connsiteX15" fmla="*/ 863321 w 4997428"/>
              <a:gd name="connsiteY15" fmla="*/ 2153521 h 5232402"/>
              <a:gd name="connsiteX16" fmla="*/ 947042 w 4997428"/>
              <a:gd name="connsiteY16" fmla="*/ 2154010 h 5232402"/>
              <a:gd name="connsiteX17" fmla="*/ 1593308 w 4997428"/>
              <a:gd name="connsiteY17" fmla="*/ 2189739 h 5232402"/>
              <a:gd name="connsiteX18" fmla="*/ 1677518 w 4997428"/>
              <a:gd name="connsiteY18" fmla="*/ 3136317 h 5232402"/>
              <a:gd name="connsiteX19" fmla="*/ 974949 w 4997428"/>
              <a:gd name="connsiteY19" fmla="*/ 3444665 h 5232402"/>
              <a:gd name="connsiteX20" fmla="*/ 428560 w 4997428"/>
              <a:gd name="connsiteY20" fmla="*/ 2363980 h 5232402"/>
              <a:gd name="connsiteX21" fmla="*/ 460384 w 4997428"/>
              <a:gd name="connsiteY21" fmla="*/ 2250430 h 5232402"/>
              <a:gd name="connsiteX22" fmla="*/ 616075 w 4997428"/>
              <a:gd name="connsiteY22" fmla="*/ 2157926 h 5232402"/>
              <a:gd name="connsiteX23" fmla="*/ 863321 w 4997428"/>
              <a:gd name="connsiteY23" fmla="*/ 2153521 h 5232402"/>
              <a:gd name="connsiteX24" fmla="*/ 3345492 w 4997428"/>
              <a:gd name="connsiteY24" fmla="*/ 1662983 h 5232402"/>
              <a:gd name="connsiteX25" fmla="*/ 3391977 w 4997428"/>
              <a:gd name="connsiteY25" fmla="*/ 1682541 h 5232402"/>
              <a:gd name="connsiteX26" fmla="*/ 3439930 w 4997428"/>
              <a:gd name="connsiteY26" fmla="*/ 1722147 h 5232402"/>
              <a:gd name="connsiteX27" fmla="*/ 3577428 w 4997428"/>
              <a:gd name="connsiteY27" fmla="*/ 1839987 h 5232402"/>
              <a:gd name="connsiteX28" fmla="*/ 4022218 w 4997428"/>
              <a:gd name="connsiteY28" fmla="*/ 2282497 h 5232402"/>
              <a:gd name="connsiteX29" fmla="*/ 4935285 w 4997428"/>
              <a:gd name="connsiteY29" fmla="*/ 3795833 h 5232402"/>
              <a:gd name="connsiteX30" fmla="*/ 4997428 w 4997428"/>
              <a:gd name="connsiteY30" fmla="*/ 4005598 h 5232402"/>
              <a:gd name="connsiteX31" fmla="*/ 4997428 w 4997428"/>
              <a:gd name="connsiteY31" fmla="*/ 5232402 h 5232402"/>
              <a:gd name="connsiteX32" fmla="*/ 3778538 w 4997428"/>
              <a:gd name="connsiteY32" fmla="*/ 5232402 h 5232402"/>
              <a:gd name="connsiteX33" fmla="*/ 3309772 w 4997428"/>
              <a:gd name="connsiteY33" fmla="*/ 4529764 h 5232402"/>
              <a:gd name="connsiteX34" fmla="*/ 3134596 w 4997428"/>
              <a:gd name="connsiteY34" fmla="*/ 3215925 h 5232402"/>
              <a:gd name="connsiteX35" fmla="*/ 3263287 w 4997428"/>
              <a:gd name="connsiteY35" fmla="*/ 1857590 h 5232402"/>
              <a:gd name="connsiteX36" fmla="*/ 3286774 w 4997428"/>
              <a:gd name="connsiteY36" fmla="*/ 1742195 h 5232402"/>
              <a:gd name="connsiteX37" fmla="*/ 3345492 w 4997428"/>
              <a:gd name="connsiteY37" fmla="*/ 1662983 h 5232402"/>
              <a:gd name="connsiteX38" fmla="*/ 1985716 w 4997428"/>
              <a:gd name="connsiteY38" fmla="*/ 829675 h 5232402"/>
              <a:gd name="connsiteX39" fmla="*/ 2042469 w 4997428"/>
              <a:gd name="connsiteY39" fmla="*/ 842388 h 5232402"/>
              <a:gd name="connsiteX40" fmla="*/ 2043448 w 4997428"/>
              <a:gd name="connsiteY40" fmla="*/ 842877 h 5232402"/>
              <a:gd name="connsiteX41" fmla="*/ 2043937 w 4997428"/>
              <a:gd name="connsiteY41" fmla="*/ 842877 h 5232402"/>
              <a:gd name="connsiteX42" fmla="*/ 2127599 w 4997428"/>
              <a:gd name="connsiteY42" fmla="*/ 878572 h 5232402"/>
              <a:gd name="connsiteX43" fmla="*/ 2337487 w 4997428"/>
              <a:gd name="connsiteY43" fmla="*/ 973433 h 5232402"/>
              <a:gd name="connsiteX44" fmla="*/ 2367820 w 4997428"/>
              <a:gd name="connsiteY44" fmla="*/ 987614 h 5232402"/>
              <a:gd name="connsiteX45" fmla="*/ 3151109 w 4997428"/>
              <a:gd name="connsiteY45" fmla="*/ 1421823 h 5232402"/>
              <a:gd name="connsiteX46" fmla="*/ 3235749 w 4997428"/>
              <a:gd name="connsiteY46" fmla="*/ 1474632 h 5232402"/>
              <a:gd name="connsiteX47" fmla="*/ 3077722 w 4997428"/>
              <a:gd name="connsiteY47" fmla="*/ 1695160 h 5232402"/>
              <a:gd name="connsiteX48" fmla="*/ 3075765 w 4997428"/>
              <a:gd name="connsiteY48" fmla="*/ 1705428 h 5232402"/>
              <a:gd name="connsiteX49" fmla="*/ 2920183 w 4997428"/>
              <a:gd name="connsiteY49" fmla="*/ 3215871 h 5232402"/>
              <a:gd name="connsiteX50" fmla="*/ 3104141 w 4997428"/>
              <a:gd name="connsiteY50" fmla="*/ 4592334 h 5232402"/>
              <a:gd name="connsiteX51" fmla="*/ 3470100 w 4997428"/>
              <a:gd name="connsiteY51" fmla="*/ 5232402 h 5232402"/>
              <a:gd name="connsiteX52" fmla="*/ 3038092 w 4997428"/>
              <a:gd name="connsiteY52" fmla="*/ 5232402 h 5232402"/>
              <a:gd name="connsiteX53" fmla="*/ 2341890 w 4997428"/>
              <a:gd name="connsiteY53" fmla="*/ 4487205 h 5232402"/>
              <a:gd name="connsiteX54" fmla="*/ 1804694 w 4997428"/>
              <a:gd name="connsiteY54" fmla="*/ 1983166 h 5232402"/>
              <a:gd name="connsiteX55" fmla="*/ 1838941 w 4997428"/>
              <a:gd name="connsiteY55" fmla="*/ 1229656 h 5232402"/>
              <a:gd name="connsiteX56" fmla="*/ 1870743 w 4997428"/>
              <a:gd name="connsiteY56" fmla="*/ 939205 h 5232402"/>
              <a:gd name="connsiteX57" fmla="*/ 1985716 w 4997428"/>
              <a:gd name="connsiteY57" fmla="*/ 829675 h 5232402"/>
              <a:gd name="connsiteX58" fmla="*/ 3454840 w 4997428"/>
              <a:gd name="connsiteY58" fmla="*/ 225284 h 5232402"/>
              <a:gd name="connsiteX59" fmla="*/ 3475877 w 4997428"/>
              <a:gd name="connsiteY59" fmla="*/ 226752 h 5232402"/>
              <a:gd name="connsiteX60" fmla="*/ 3476366 w 4997428"/>
              <a:gd name="connsiteY60" fmla="*/ 227241 h 5232402"/>
              <a:gd name="connsiteX61" fmla="*/ 3477345 w 4997428"/>
              <a:gd name="connsiteY61" fmla="*/ 227241 h 5232402"/>
              <a:gd name="connsiteX62" fmla="*/ 3527736 w 4997428"/>
              <a:gd name="connsiteY62" fmla="*/ 247791 h 5232402"/>
              <a:gd name="connsiteX63" fmla="*/ 3528226 w 4997428"/>
              <a:gd name="connsiteY63" fmla="*/ 248280 h 5232402"/>
              <a:gd name="connsiteX64" fmla="*/ 3529204 w 4997428"/>
              <a:gd name="connsiteY64" fmla="*/ 248769 h 5232402"/>
              <a:gd name="connsiteX65" fmla="*/ 3826172 w 4997428"/>
              <a:gd name="connsiteY65" fmla="*/ 449371 h 5232402"/>
              <a:gd name="connsiteX66" fmla="*/ 4276762 w 4997428"/>
              <a:gd name="connsiteY66" fmla="*/ 798712 h 5232402"/>
              <a:gd name="connsiteX67" fmla="*/ 3902494 w 4997428"/>
              <a:gd name="connsiteY67" fmla="*/ 1684785 h 5232402"/>
              <a:gd name="connsiteX68" fmla="*/ 3130963 w 4997428"/>
              <a:gd name="connsiteY68" fmla="*/ 1155881 h 5232402"/>
              <a:gd name="connsiteX69" fmla="*/ 3342314 w 4997428"/>
              <a:gd name="connsiteY69" fmla="*/ 323139 h 5232402"/>
              <a:gd name="connsiteX70" fmla="*/ 3345250 w 4997428"/>
              <a:gd name="connsiteY70" fmla="*/ 314332 h 5232402"/>
              <a:gd name="connsiteX71" fmla="*/ 3454840 w 4997428"/>
              <a:gd name="connsiteY71" fmla="*/ 225284 h 5232402"/>
              <a:gd name="connsiteX72" fmla="*/ 4997428 w 4997428"/>
              <a:gd name="connsiteY72" fmla="*/ 0 h 5232402"/>
              <a:gd name="connsiteX73" fmla="*/ 4996450 w 4997428"/>
              <a:gd name="connsiteY73" fmla="*/ 3311432 h 5232402"/>
              <a:gd name="connsiteX74" fmla="*/ 4030887 w 4997428"/>
              <a:gd name="connsiteY74" fmla="*/ 1977273 h 5232402"/>
              <a:gd name="connsiteX75" fmla="*/ 4879116 w 4997428"/>
              <a:gd name="connsiteY75" fmla="*/ 134003 h 5232402"/>
              <a:gd name="connsiteX76" fmla="*/ 4930450 w 4997428"/>
              <a:gd name="connsiteY76" fmla="*/ 52819 h 5232402"/>
              <a:gd name="connsiteX77" fmla="*/ 4997428 w 4997428"/>
              <a:gd name="connsiteY77" fmla="*/ 0 h 5232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4997428" h="5232402">
                <a:moveTo>
                  <a:pt x="1715698" y="3352613"/>
                </a:moveTo>
                <a:cubicBezTo>
                  <a:pt x="1810607" y="3830261"/>
                  <a:pt x="1959330" y="4247774"/>
                  <a:pt x="2156976" y="4593909"/>
                </a:cubicBezTo>
                <a:cubicBezTo>
                  <a:pt x="2304231" y="4852533"/>
                  <a:pt x="2477905" y="5065201"/>
                  <a:pt x="2675550" y="5232402"/>
                </a:cubicBezTo>
                <a:cubicBezTo>
                  <a:pt x="2675550" y="5232402"/>
                  <a:pt x="2675550" y="5232402"/>
                  <a:pt x="1556212" y="5232402"/>
                </a:cubicBezTo>
                <a:cubicBezTo>
                  <a:pt x="445191" y="4978667"/>
                  <a:pt x="81700" y="4563598"/>
                  <a:pt x="33267" y="4501998"/>
                </a:cubicBezTo>
                <a:cubicBezTo>
                  <a:pt x="33267" y="4501998"/>
                  <a:pt x="33267" y="4501998"/>
                  <a:pt x="32778" y="4501509"/>
                </a:cubicBezTo>
                <a:cubicBezTo>
                  <a:pt x="10763" y="4468264"/>
                  <a:pt x="0" y="4431597"/>
                  <a:pt x="0" y="4392486"/>
                </a:cubicBezTo>
                <a:cubicBezTo>
                  <a:pt x="0" y="4328930"/>
                  <a:pt x="29843" y="4267330"/>
                  <a:pt x="77786" y="4231641"/>
                </a:cubicBezTo>
                <a:cubicBezTo>
                  <a:pt x="77786" y="4231641"/>
                  <a:pt x="103715" y="4214529"/>
                  <a:pt x="150191" y="4183240"/>
                </a:cubicBezTo>
                <a:cubicBezTo>
                  <a:pt x="150191" y="4183240"/>
                  <a:pt x="150191" y="4183240"/>
                  <a:pt x="150680" y="4182752"/>
                </a:cubicBezTo>
                <a:cubicBezTo>
                  <a:pt x="150680" y="4182752"/>
                  <a:pt x="150680" y="4182752"/>
                  <a:pt x="151170" y="4182263"/>
                </a:cubicBezTo>
                <a:cubicBezTo>
                  <a:pt x="186393" y="4155862"/>
                  <a:pt x="236783" y="4122618"/>
                  <a:pt x="300382" y="4080573"/>
                </a:cubicBezTo>
                <a:cubicBezTo>
                  <a:pt x="317505" y="4069818"/>
                  <a:pt x="335117" y="4058084"/>
                  <a:pt x="353707" y="4045862"/>
                </a:cubicBezTo>
                <a:cubicBezTo>
                  <a:pt x="511725" y="3944661"/>
                  <a:pt x="765631" y="3791149"/>
                  <a:pt x="1076776" y="3635682"/>
                </a:cubicBezTo>
                <a:cubicBezTo>
                  <a:pt x="1292033" y="3527148"/>
                  <a:pt x="1506801" y="3431814"/>
                  <a:pt x="1715698" y="3352613"/>
                </a:cubicBezTo>
                <a:close/>
                <a:moveTo>
                  <a:pt x="863321" y="2153521"/>
                </a:moveTo>
                <a:cubicBezTo>
                  <a:pt x="889759" y="2153521"/>
                  <a:pt x="917666" y="2153521"/>
                  <a:pt x="947042" y="2154010"/>
                </a:cubicBezTo>
                <a:cubicBezTo>
                  <a:pt x="1086087" y="2155479"/>
                  <a:pt x="1309832" y="2163310"/>
                  <a:pt x="1593308" y="2189739"/>
                </a:cubicBezTo>
                <a:cubicBezTo>
                  <a:pt x="1601141" y="2514728"/>
                  <a:pt x="1629538" y="2832864"/>
                  <a:pt x="1677518" y="3136317"/>
                </a:cubicBezTo>
                <a:cubicBezTo>
                  <a:pt x="1448877" y="3222948"/>
                  <a:pt x="1212892" y="3326710"/>
                  <a:pt x="974949" y="3444665"/>
                </a:cubicBezTo>
                <a:cubicBezTo>
                  <a:pt x="510323" y="2858805"/>
                  <a:pt x="439332" y="2469699"/>
                  <a:pt x="428560" y="2363980"/>
                </a:cubicBezTo>
                <a:cubicBezTo>
                  <a:pt x="425133" y="2327762"/>
                  <a:pt x="445207" y="2272455"/>
                  <a:pt x="460384" y="2250430"/>
                </a:cubicBezTo>
                <a:cubicBezTo>
                  <a:pt x="498083" y="2195123"/>
                  <a:pt x="554386" y="2161841"/>
                  <a:pt x="616075" y="2157926"/>
                </a:cubicBezTo>
                <a:cubicBezTo>
                  <a:pt x="616565" y="2157926"/>
                  <a:pt x="708609" y="2153521"/>
                  <a:pt x="863321" y="2153521"/>
                </a:cubicBezTo>
                <a:close/>
                <a:moveTo>
                  <a:pt x="3345492" y="1662983"/>
                </a:moveTo>
                <a:cubicBezTo>
                  <a:pt x="3359682" y="1662983"/>
                  <a:pt x="3374851" y="1669339"/>
                  <a:pt x="3391977" y="1682541"/>
                </a:cubicBezTo>
                <a:cubicBezTo>
                  <a:pt x="3392466" y="1683030"/>
                  <a:pt x="3409103" y="1695254"/>
                  <a:pt x="3439930" y="1722147"/>
                </a:cubicBezTo>
                <a:cubicBezTo>
                  <a:pt x="3471246" y="1747084"/>
                  <a:pt x="3515774" y="1785712"/>
                  <a:pt x="3577428" y="1839987"/>
                </a:cubicBezTo>
                <a:cubicBezTo>
                  <a:pt x="3659634" y="1913331"/>
                  <a:pt x="3826980" y="2067843"/>
                  <a:pt x="4022218" y="2282497"/>
                </a:cubicBezTo>
                <a:cubicBezTo>
                  <a:pt x="4330978" y="2626237"/>
                  <a:pt x="4740536" y="3168006"/>
                  <a:pt x="4935285" y="3795833"/>
                </a:cubicBezTo>
                <a:cubicBezTo>
                  <a:pt x="4960240" y="3876512"/>
                  <a:pt x="4978345" y="3929320"/>
                  <a:pt x="4997428" y="4005598"/>
                </a:cubicBezTo>
                <a:cubicBezTo>
                  <a:pt x="4997428" y="4005598"/>
                  <a:pt x="4997428" y="4005598"/>
                  <a:pt x="4997428" y="5232402"/>
                </a:cubicBezTo>
                <a:cubicBezTo>
                  <a:pt x="4997428" y="5232402"/>
                  <a:pt x="4997428" y="5232402"/>
                  <a:pt x="3778538" y="5232402"/>
                </a:cubicBezTo>
                <a:cubicBezTo>
                  <a:pt x="3580364" y="5068600"/>
                  <a:pt x="3405189" y="4836343"/>
                  <a:pt x="3309772" y="4529764"/>
                </a:cubicBezTo>
                <a:cubicBezTo>
                  <a:pt x="3193803" y="4155220"/>
                  <a:pt x="3134596" y="3713199"/>
                  <a:pt x="3134596" y="3215925"/>
                </a:cubicBezTo>
                <a:cubicBezTo>
                  <a:pt x="3134596" y="2598366"/>
                  <a:pt x="3224630" y="2060509"/>
                  <a:pt x="3263287" y="1857590"/>
                </a:cubicBezTo>
                <a:cubicBezTo>
                  <a:pt x="3277966" y="1783267"/>
                  <a:pt x="3286774" y="1742195"/>
                  <a:pt x="3286774" y="1742195"/>
                </a:cubicBezTo>
                <a:cubicBezTo>
                  <a:pt x="3296071" y="1706989"/>
                  <a:pt x="3313686" y="1662983"/>
                  <a:pt x="3345492" y="1662983"/>
                </a:cubicBezTo>
                <a:close/>
                <a:moveTo>
                  <a:pt x="1985716" y="829675"/>
                </a:moveTo>
                <a:cubicBezTo>
                  <a:pt x="1997948" y="829675"/>
                  <a:pt x="2017518" y="832120"/>
                  <a:pt x="2042469" y="842388"/>
                </a:cubicBezTo>
                <a:cubicBezTo>
                  <a:pt x="2042469" y="842388"/>
                  <a:pt x="2042469" y="842388"/>
                  <a:pt x="2043448" y="842877"/>
                </a:cubicBezTo>
                <a:cubicBezTo>
                  <a:pt x="2043448" y="842877"/>
                  <a:pt x="2043448" y="842877"/>
                  <a:pt x="2043937" y="842877"/>
                </a:cubicBezTo>
                <a:cubicBezTo>
                  <a:pt x="2044426" y="842877"/>
                  <a:pt x="2073781" y="853635"/>
                  <a:pt x="2127599" y="878572"/>
                </a:cubicBezTo>
                <a:cubicBezTo>
                  <a:pt x="2179949" y="899598"/>
                  <a:pt x="2249422" y="932360"/>
                  <a:pt x="2337487" y="973433"/>
                </a:cubicBezTo>
                <a:cubicBezTo>
                  <a:pt x="2337487" y="973433"/>
                  <a:pt x="2337487" y="973433"/>
                  <a:pt x="2367820" y="987614"/>
                </a:cubicBezTo>
                <a:cubicBezTo>
                  <a:pt x="2638376" y="1118659"/>
                  <a:pt x="2902081" y="1264862"/>
                  <a:pt x="3151109" y="1421823"/>
                </a:cubicBezTo>
                <a:cubicBezTo>
                  <a:pt x="3179486" y="1437959"/>
                  <a:pt x="3207862" y="1456051"/>
                  <a:pt x="3235749" y="1474632"/>
                </a:cubicBezTo>
                <a:cubicBezTo>
                  <a:pt x="3158937" y="1513261"/>
                  <a:pt x="3099738" y="1594431"/>
                  <a:pt x="3077722" y="1695160"/>
                </a:cubicBezTo>
                <a:cubicBezTo>
                  <a:pt x="3077232" y="1698094"/>
                  <a:pt x="3076743" y="1701028"/>
                  <a:pt x="3075765" y="1705428"/>
                </a:cubicBezTo>
                <a:cubicBezTo>
                  <a:pt x="3039560" y="1877547"/>
                  <a:pt x="2920183" y="2495122"/>
                  <a:pt x="2920183" y="3215871"/>
                </a:cubicBezTo>
                <a:cubicBezTo>
                  <a:pt x="2920183" y="3734673"/>
                  <a:pt x="2982318" y="4197732"/>
                  <a:pt x="3104141" y="4592334"/>
                </a:cubicBezTo>
                <a:cubicBezTo>
                  <a:pt x="3191228" y="4868116"/>
                  <a:pt x="3328218" y="5076419"/>
                  <a:pt x="3470100" y="5232402"/>
                </a:cubicBezTo>
                <a:cubicBezTo>
                  <a:pt x="3470100" y="5232402"/>
                  <a:pt x="3470100" y="5232402"/>
                  <a:pt x="3038092" y="5232402"/>
                </a:cubicBezTo>
                <a:cubicBezTo>
                  <a:pt x="2771451" y="5072997"/>
                  <a:pt x="2534165" y="4821663"/>
                  <a:pt x="2341890" y="4487205"/>
                </a:cubicBezTo>
                <a:cubicBezTo>
                  <a:pt x="1897651" y="3710224"/>
                  <a:pt x="1804694" y="2696580"/>
                  <a:pt x="1804694" y="1983166"/>
                </a:cubicBezTo>
                <a:cubicBezTo>
                  <a:pt x="1804694" y="1730366"/>
                  <a:pt x="1815947" y="1477077"/>
                  <a:pt x="1838941" y="1229656"/>
                </a:cubicBezTo>
                <a:cubicBezTo>
                  <a:pt x="1855576" y="1048246"/>
                  <a:pt x="1870743" y="940183"/>
                  <a:pt x="1870743" y="939205"/>
                </a:cubicBezTo>
                <a:cubicBezTo>
                  <a:pt x="1884442" y="867815"/>
                  <a:pt x="1922114" y="831631"/>
                  <a:pt x="1985716" y="829675"/>
                </a:cubicBezTo>
                <a:close/>
                <a:moveTo>
                  <a:pt x="3454840" y="225284"/>
                </a:moveTo>
                <a:cubicBezTo>
                  <a:pt x="3461689" y="225284"/>
                  <a:pt x="3468538" y="225773"/>
                  <a:pt x="3475877" y="226752"/>
                </a:cubicBezTo>
                <a:cubicBezTo>
                  <a:pt x="3475877" y="226752"/>
                  <a:pt x="3475877" y="226752"/>
                  <a:pt x="3476366" y="227241"/>
                </a:cubicBezTo>
                <a:cubicBezTo>
                  <a:pt x="3476366" y="227241"/>
                  <a:pt x="3476366" y="227241"/>
                  <a:pt x="3477345" y="227241"/>
                </a:cubicBezTo>
                <a:cubicBezTo>
                  <a:pt x="3493490" y="228709"/>
                  <a:pt x="3510613" y="235559"/>
                  <a:pt x="3527736" y="247791"/>
                </a:cubicBezTo>
                <a:cubicBezTo>
                  <a:pt x="3527736" y="247791"/>
                  <a:pt x="3527736" y="247791"/>
                  <a:pt x="3528226" y="248280"/>
                </a:cubicBezTo>
                <a:cubicBezTo>
                  <a:pt x="3528226" y="248280"/>
                  <a:pt x="3528226" y="248280"/>
                  <a:pt x="3529204" y="248769"/>
                </a:cubicBezTo>
                <a:cubicBezTo>
                  <a:pt x="3530182" y="249259"/>
                  <a:pt x="3646621" y="320692"/>
                  <a:pt x="3826172" y="449371"/>
                </a:cubicBezTo>
                <a:cubicBezTo>
                  <a:pt x="3925488" y="520805"/>
                  <a:pt x="4083512" y="638719"/>
                  <a:pt x="4276762" y="798712"/>
                </a:cubicBezTo>
                <a:cubicBezTo>
                  <a:pt x="4136350" y="1090318"/>
                  <a:pt x="4010616" y="1388285"/>
                  <a:pt x="3902494" y="1684785"/>
                </a:cubicBezTo>
                <a:cubicBezTo>
                  <a:pt x="3671573" y="1502775"/>
                  <a:pt x="3418636" y="1329573"/>
                  <a:pt x="3130963" y="1155881"/>
                </a:cubicBezTo>
                <a:cubicBezTo>
                  <a:pt x="3212666" y="743913"/>
                  <a:pt x="3305622" y="437139"/>
                  <a:pt x="3342314" y="323139"/>
                </a:cubicBezTo>
                <a:cubicBezTo>
                  <a:pt x="3343782" y="319224"/>
                  <a:pt x="3344271" y="316778"/>
                  <a:pt x="3345250" y="314332"/>
                </a:cubicBezTo>
                <a:cubicBezTo>
                  <a:pt x="3367755" y="255130"/>
                  <a:pt x="3404448" y="225284"/>
                  <a:pt x="3454840" y="225284"/>
                </a:cubicBezTo>
                <a:close/>
                <a:moveTo>
                  <a:pt x="4997428" y="0"/>
                </a:moveTo>
                <a:cubicBezTo>
                  <a:pt x="4997428" y="0"/>
                  <a:pt x="4997428" y="0"/>
                  <a:pt x="4996450" y="3311432"/>
                </a:cubicBezTo>
                <a:cubicBezTo>
                  <a:pt x="4786715" y="2861007"/>
                  <a:pt x="4449868" y="2413516"/>
                  <a:pt x="4030887" y="1977273"/>
                </a:cubicBezTo>
                <a:cubicBezTo>
                  <a:pt x="4316889" y="1108212"/>
                  <a:pt x="4718759" y="399563"/>
                  <a:pt x="4879116" y="134003"/>
                </a:cubicBezTo>
                <a:cubicBezTo>
                  <a:pt x="4912850" y="80695"/>
                  <a:pt x="4930450" y="52819"/>
                  <a:pt x="4930450" y="52819"/>
                </a:cubicBezTo>
                <a:cubicBezTo>
                  <a:pt x="4962717" y="3912"/>
                  <a:pt x="4989606" y="0"/>
                  <a:pt x="4997428" y="0"/>
                </a:cubicBezTo>
                <a:close/>
              </a:path>
            </a:pathLst>
          </a:custGeom>
          <a:solidFill>
            <a:srgbClr val="B29C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a:p>
        </p:txBody>
      </p:sp>
      <p:sp>
        <p:nvSpPr>
          <p:cNvPr id="86" name="Rectangle 85">
            <a:extLst>
              <a:ext uri="{FF2B5EF4-FFF2-40B4-BE49-F238E27FC236}">
                <a16:creationId xmlns:a16="http://schemas.microsoft.com/office/drawing/2014/main" id="{59DA3977-9CB7-4D80-B87F-8D89276989D4}"/>
              </a:ext>
            </a:extLst>
          </p:cNvPr>
          <p:cNvSpPr/>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 name="Title 1">
            <a:extLst>
              <a:ext uri="{FF2B5EF4-FFF2-40B4-BE49-F238E27FC236}">
                <a16:creationId xmlns:a16="http://schemas.microsoft.com/office/drawing/2014/main" id="{F64D1DA5-55F2-40D3-B419-631F81A7BC28}"/>
              </a:ext>
            </a:extLst>
          </p:cNvPr>
          <p:cNvSpPr>
            <a:spLocks noGrp="1"/>
          </p:cNvSpPr>
          <p:nvPr>
            <p:ph type="title" hasCustomPrompt="1"/>
          </p:nvPr>
        </p:nvSpPr>
        <p:spPr>
          <a:xfrm>
            <a:off x="593768" y="2189852"/>
            <a:ext cx="5552921" cy="1181862"/>
          </a:xfrm>
          <a:prstGeom prst="rect">
            <a:avLst/>
          </a:prstGeom>
        </p:spPr>
        <p:txBody>
          <a:bodyPr anchor="b"/>
          <a:lstStyle>
            <a:lvl1pPr>
              <a:lnSpc>
                <a:spcPct val="80000"/>
              </a:lnSpc>
              <a:defRPr sz="4800">
                <a:solidFill>
                  <a:schemeClr val="bg1"/>
                </a:solidFill>
              </a:defRPr>
            </a:lvl1pPr>
          </a:lstStyle>
          <a:p>
            <a:r>
              <a:rPr lang="en-US"/>
              <a:t>Presentation title</a:t>
            </a:r>
            <a:br>
              <a:rPr lang="en-US"/>
            </a:br>
            <a:r>
              <a:rPr lang="en-US"/>
              <a:t>goes here</a:t>
            </a:r>
            <a:endParaRPr lang="en-GB"/>
          </a:p>
        </p:txBody>
      </p:sp>
      <p:sp>
        <p:nvSpPr>
          <p:cNvPr id="37" name="Picture Placeholder 36">
            <a:extLst>
              <a:ext uri="{FF2B5EF4-FFF2-40B4-BE49-F238E27FC236}">
                <a16:creationId xmlns:a16="http://schemas.microsoft.com/office/drawing/2014/main" id="{FB92D7A7-9D03-4CDA-8900-92AFCEA12729}"/>
              </a:ext>
            </a:extLst>
          </p:cNvPr>
          <p:cNvSpPr>
            <a:spLocks noGrp="1"/>
          </p:cNvSpPr>
          <p:nvPr>
            <p:ph type="pic" sz="quarter" idx="10" hasCustomPrompt="1"/>
          </p:nvPr>
        </p:nvSpPr>
        <p:spPr>
          <a:xfrm>
            <a:off x="7194572" y="1625597"/>
            <a:ext cx="4997428" cy="5232401"/>
          </a:xfrm>
          <a:custGeom>
            <a:avLst/>
            <a:gdLst>
              <a:gd name="connsiteX0" fmla="*/ 1715698 w 4997428"/>
              <a:gd name="connsiteY0" fmla="*/ 3352613 h 5232401"/>
              <a:gd name="connsiteX1" fmla="*/ 2156976 w 4997428"/>
              <a:gd name="connsiteY1" fmla="*/ 4593909 h 5232401"/>
              <a:gd name="connsiteX2" fmla="*/ 2531849 w 4997428"/>
              <a:gd name="connsiteY2" fmla="*/ 5098469 h 5232401"/>
              <a:gd name="connsiteX3" fmla="*/ 2675549 w 4997428"/>
              <a:gd name="connsiteY3" fmla="*/ 5232401 h 5232401"/>
              <a:gd name="connsiteX4" fmla="*/ 1556208 w 4997428"/>
              <a:gd name="connsiteY4" fmla="*/ 5232401 h 5232401"/>
              <a:gd name="connsiteX5" fmla="*/ 1356550 w 4997428"/>
              <a:gd name="connsiteY5" fmla="*/ 5183062 h 5232401"/>
              <a:gd name="connsiteX6" fmla="*/ 33267 w 4997428"/>
              <a:gd name="connsiteY6" fmla="*/ 4501998 h 5232401"/>
              <a:gd name="connsiteX7" fmla="*/ 32778 w 4997428"/>
              <a:gd name="connsiteY7" fmla="*/ 4501509 h 5232401"/>
              <a:gd name="connsiteX8" fmla="*/ 0 w 4997428"/>
              <a:gd name="connsiteY8" fmla="*/ 4392486 h 5232401"/>
              <a:gd name="connsiteX9" fmla="*/ 77786 w 4997428"/>
              <a:gd name="connsiteY9" fmla="*/ 4231641 h 5232401"/>
              <a:gd name="connsiteX10" fmla="*/ 150191 w 4997428"/>
              <a:gd name="connsiteY10" fmla="*/ 4183240 h 5232401"/>
              <a:gd name="connsiteX11" fmla="*/ 150680 w 4997428"/>
              <a:gd name="connsiteY11" fmla="*/ 4182752 h 5232401"/>
              <a:gd name="connsiteX12" fmla="*/ 151170 w 4997428"/>
              <a:gd name="connsiteY12" fmla="*/ 4182263 h 5232401"/>
              <a:gd name="connsiteX13" fmla="*/ 300382 w 4997428"/>
              <a:gd name="connsiteY13" fmla="*/ 4080573 h 5232401"/>
              <a:gd name="connsiteX14" fmla="*/ 353707 w 4997428"/>
              <a:gd name="connsiteY14" fmla="*/ 4045862 h 5232401"/>
              <a:gd name="connsiteX15" fmla="*/ 1076776 w 4997428"/>
              <a:gd name="connsiteY15" fmla="*/ 3635682 h 5232401"/>
              <a:gd name="connsiteX16" fmla="*/ 1715698 w 4997428"/>
              <a:gd name="connsiteY16" fmla="*/ 3352613 h 5232401"/>
              <a:gd name="connsiteX17" fmla="*/ 863321 w 4997428"/>
              <a:gd name="connsiteY17" fmla="*/ 2153521 h 5232401"/>
              <a:gd name="connsiteX18" fmla="*/ 947042 w 4997428"/>
              <a:gd name="connsiteY18" fmla="*/ 2154010 h 5232401"/>
              <a:gd name="connsiteX19" fmla="*/ 1593308 w 4997428"/>
              <a:gd name="connsiteY19" fmla="*/ 2189739 h 5232401"/>
              <a:gd name="connsiteX20" fmla="*/ 1677518 w 4997428"/>
              <a:gd name="connsiteY20" fmla="*/ 3136317 h 5232401"/>
              <a:gd name="connsiteX21" fmla="*/ 974949 w 4997428"/>
              <a:gd name="connsiteY21" fmla="*/ 3444665 h 5232401"/>
              <a:gd name="connsiteX22" fmla="*/ 428560 w 4997428"/>
              <a:gd name="connsiteY22" fmla="*/ 2363980 h 5232401"/>
              <a:gd name="connsiteX23" fmla="*/ 460384 w 4997428"/>
              <a:gd name="connsiteY23" fmla="*/ 2250430 h 5232401"/>
              <a:gd name="connsiteX24" fmla="*/ 616075 w 4997428"/>
              <a:gd name="connsiteY24" fmla="*/ 2157926 h 5232401"/>
              <a:gd name="connsiteX25" fmla="*/ 863321 w 4997428"/>
              <a:gd name="connsiteY25" fmla="*/ 2153521 h 5232401"/>
              <a:gd name="connsiteX26" fmla="*/ 3345492 w 4997428"/>
              <a:gd name="connsiteY26" fmla="*/ 1662983 h 5232401"/>
              <a:gd name="connsiteX27" fmla="*/ 3391977 w 4997428"/>
              <a:gd name="connsiteY27" fmla="*/ 1682541 h 5232401"/>
              <a:gd name="connsiteX28" fmla="*/ 3439930 w 4997428"/>
              <a:gd name="connsiteY28" fmla="*/ 1722147 h 5232401"/>
              <a:gd name="connsiteX29" fmla="*/ 3577428 w 4997428"/>
              <a:gd name="connsiteY29" fmla="*/ 1839987 h 5232401"/>
              <a:gd name="connsiteX30" fmla="*/ 4022218 w 4997428"/>
              <a:gd name="connsiteY30" fmla="*/ 2282497 h 5232401"/>
              <a:gd name="connsiteX31" fmla="*/ 4935285 w 4997428"/>
              <a:gd name="connsiteY31" fmla="*/ 3795833 h 5232401"/>
              <a:gd name="connsiteX32" fmla="*/ 4997428 w 4997428"/>
              <a:gd name="connsiteY32" fmla="*/ 4005598 h 5232401"/>
              <a:gd name="connsiteX33" fmla="*/ 4997428 w 4997428"/>
              <a:gd name="connsiteY33" fmla="*/ 4007994 h 5232401"/>
              <a:gd name="connsiteX34" fmla="*/ 4997428 w 4997428"/>
              <a:gd name="connsiteY34" fmla="*/ 4024767 h 5232401"/>
              <a:gd name="connsiteX35" fmla="*/ 4997428 w 4997428"/>
              <a:gd name="connsiteY35" fmla="*/ 4043037 h 5232401"/>
              <a:gd name="connsiteX36" fmla="*/ 4997428 w 4997428"/>
              <a:gd name="connsiteY36" fmla="*/ 4070293 h 5232401"/>
              <a:gd name="connsiteX37" fmla="*/ 4997428 w 4997428"/>
              <a:gd name="connsiteY37" fmla="*/ 4108331 h 5232401"/>
              <a:gd name="connsiteX38" fmla="*/ 4997428 w 4997428"/>
              <a:gd name="connsiteY38" fmla="*/ 4158949 h 5232401"/>
              <a:gd name="connsiteX39" fmla="*/ 4997428 w 4997428"/>
              <a:gd name="connsiteY39" fmla="*/ 4223943 h 5232401"/>
              <a:gd name="connsiteX40" fmla="*/ 4997428 w 4997428"/>
              <a:gd name="connsiteY40" fmla="*/ 4305111 h 5232401"/>
              <a:gd name="connsiteX41" fmla="*/ 4997428 w 4997428"/>
              <a:gd name="connsiteY41" fmla="*/ 4404250 h 5232401"/>
              <a:gd name="connsiteX42" fmla="*/ 4997428 w 4997428"/>
              <a:gd name="connsiteY42" fmla="*/ 4523156 h 5232401"/>
              <a:gd name="connsiteX43" fmla="*/ 4997428 w 4997428"/>
              <a:gd name="connsiteY43" fmla="*/ 4663628 h 5232401"/>
              <a:gd name="connsiteX44" fmla="*/ 4997428 w 4997428"/>
              <a:gd name="connsiteY44" fmla="*/ 4827461 h 5232401"/>
              <a:gd name="connsiteX45" fmla="*/ 4997428 w 4997428"/>
              <a:gd name="connsiteY45" fmla="*/ 5016454 h 5232401"/>
              <a:gd name="connsiteX46" fmla="*/ 4997428 w 4997428"/>
              <a:gd name="connsiteY46" fmla="*/ 5232401 h 5232401"/>
              <a:gd name="connsiteX47" fmla="*/ 3778537 w 4997428"/>
              <a:gd name="connsiteY47" fmla="*/ 5232401 h 5232401"/>
              <a:gd name="connsiteX48" fmla="*/ 3635107 w 4997428"/>
              <a:gd name="connsiteY48" fmla="*/ 5096624 h 5232401"/>
              <a:gd name="connsiteX49" fmla="*/ 3309772 w 4997428"/>
              <a:gd name="connsiteY49" fmla="*/ 4529764 h 5232401"/>
              <a:gd name="connsiteX50" fmla="*/ 3134596 w 4997428"/>
              <a:gd name="connsiteY50" fmla="*/ 3215925 h 5232401"/>
              <a:gd name="connsiteX51" fmla="*/ 3263287 w 4997428"/>
              <a:gd name="connsiteY51" fmla="*/ 1857590 h 5232401"/>
              <a:gd name="connsiteX52" fmla="*/ 3286774 w 4997428"/>
              <a:gd name="connsiteY52" fmla="*/ 1742195 h 5232401"/>
              <a:gd name="connsiteX53" fmla="*/ 3345492 w 4997428"/>
              <a:gd name="connsiteY53" fmla="*/ 1662983 h 5232401"/>
              <a:gd name="connsiteX54" fmla="*/ 1985716 w 4997428"/>
              <a:gd name="connsiteY54" fmla="*/ 829675 h 5232401"/>
              <a:gd name="connsiteX55" fmla="*/ 2042469 w 4997428"/>
              <a:gd name="connsiteY55" fmla="*/ 842388 h 5232401"/>
              <a:gd name="connsiteX56" fmla="*/ 2043448 w 4997428"/>
              <a:gd name="connsiteY56" fmla="*/ 842877 h 5232401"/>
              <a:gd name="connsiteX57" fmla="*/ 2043937 w 4997428"/>
              <a:gd name="connsiteY57" fmla="*/ 842877 h 5232401"/>
              <a:gd name="connsiteX58" fmla="*/ 2127599 w 4997428"/>
              <a:gd name="connsiteY58" fmla="*/ 878572 h 5232401"/>
              <a:gd name="connsiteX59" fmla="*/ 2337487 w 4997428"/>
              <a:gd name="connsiteY59" fmla="*/ 973433 h 5232401"/>
              <a:gd name="connsiteX60" fmla="*/ 2367820 w 4997428"/>
              <a:gd name="connsiteY60" fmla="*/ 987614 h 5232401"/>
              <a:gd name="connsiteX61" fmla="*/ 3151109 w 4997428"/>
              <a:gd name="connsiteY61" fmla="*/ 1421823 h 5232401"/>
              <a:gd name="connsiteX62" fmla="*/ 3235749 w 4997428"/>
              <a:gd name="connsiteY62" fmla="*/ 1474632 h 5232401"/>
              <a:gd name="connsiteX63" fmla="*/ 3077722 w 4997428"/>
              <a:gd name="connsiteY63" fmla="*/ 1695160 h 5232401"/>
              <a:gd name="connsiteX64" fmla="*/ 3075765 w 4997428"/>
              <a:gd name="connsiteY64" fmla="*/ 1705428 h 5232401"/>
              <a:gd name="connsiteX65" fmla="*/ 2920183 w 4997428"/>
              <a:gd name="connsiteY65" fmla="*/ 3215871 h 5232401"/>
              <a:gd name="connsiteX66" fmla="*/ 3104141 w 4997428"/>
              <a:gd name="connsiteY66" fmla="*/ 4592334 h 5232401"/>
              <a:gd name="connsiteX67" fmla="*/ 3365309 w 4997428"/>
              <a:gd name="connsiteY67" fmla="*/ 5105368 h 5232401"/>
              <a:gd name="connsiteX68" fmla="*/ 3470099 w 4997428"/>
              <a:gd name="connsiteY68" fmla="*/ 5232401 h 5232401"/>
              <a:gd name="connsiteX69" fmla="*/ 3038090 w 4997428"/>
              <a:gd name="connsiteY69" fmla="*/ 5232401 h 5232401"/>
              <a:gd name="connsiteX70" fmla="*/ 2939508 w 4997428"/>
              <a:gd name="connsiteY70" fmla="*/ 5168333 h 5232401"/>
              <a:gd name="connsiteX71" fmla="*/ 2341890 w 4997428"/>
              <a:gd name="connsiteY71" fmla="*/ 4487205 h 5232401"/>
              <a:gd name="connsiteX72" fmla="*/ 1804694 w 4997428"/>
              <a:gd name="connsiteY72" fmla="*/ 1983166 h 5232401"/>
              <a:gd name="connsiteX73" fmla="*/ 1838941 w 4997428"/>
              <a:gd name="connsiteY73" fmla="*/ 1229656 h 5232401"/>
              <a:gd name="connsiteX74" fmla="*/ 1870743 w 4997428"/>
              <a:gd name="connsiteY74" fmla="*/ 939205 h 5232401"/>
              <a:gd name="connsiteX75" fmla="*/ 1985716 w 4997428"/>
              <a:gd name="connsiteY75" fmla="*/ 829675 h 5232401"/>
              <a:gd name="connsiteX76" fmla="*/ 3454840 w 4997428"/>
              <a:gd name="connsiteY76" fmla="*/ 225284 h 5232401"/>
              <a:gd name="connsiteX77" fmla="*/ 3475877 w 4997428"/>
              <a:gd name="connsiteY77" fmla="*/ 226752 h 5232401"/>
              <a:gd name="connsiteX78" fmla="*/ 3476366 w 4997428"/>
              <a:gd name="connsiteY78" fmla="*/ 227241 h 5232401"/>
              <a:gd name="connsiteX79" fmla="*/ 3477345 w 4997428"/>
              <a:gd name="connsiteY79" fmla="*/ 227241 h 5232401"/>
              <a:gd name="connsiteX80" fmla="*/ 3527736 w 4997428"/>
              <a:gd name="connsiteY80" fmla="*/ 247791 h 5232401"/>
              <a:gd name="connsiteX81" fmla="*/ 3528226 w 4997428"/>
              <a:gd name="connsiteY81" fmla="*/ 248280 h 5232401"/>
              <a:gd name="connsiteX82" fmla="*/ 3529204 w 4997428"/>
              <a:gd name="connsiteY82" fmla="*/ 248769 h 5232401"/>
              <a:gd name="connsiteX83" fmla="*/ 3826172 w 4997428"/>
              <a:gd name="connsiteY83" fmla="*/ 449371 h 5232401"/>
              <a:gd name="connsiteX84" fmla="*/ 4276762 w 4997428"/>
              <a:gd name="connsiteY84" fmla="*/ 798712 h 5232401"/>
              <a:gd name="connsiteX85" fmla="*/ 3902494 w 4997428"/>
              <a:gd name="connsiteY85" fmla="*/ 1684785 h 5232401"/>
              <a:gd name="connsiteX86" fmla="*/ 3130963 w 4997428"/>
              <a:gd name="connsiteY86" fmla="*/ 1155881 h 5232401"/>
              <a:gd name="connsiteX87" fmla="*/ 3342314 w 4997428"/>
              <a:gd name="connsiteY87" fmla="*/ 323139 h 5232401"/>
              <a:gd name="connsiteX88" fmla="*/ 3345250 w 4997428"/>
              <a:gd name="connsiteY88" fmla="*/ 314332 h 5232401"/>
              <a:gd name="connsiteX89" fmla="*/ 3454840 w 4997428"/>
              <a:gd name="connsiteY89" fmla="*/ 225284 h 5232401"/>
              <a:gd name="connsiteX90" fmla="*/ 4997428 w 4997428"/>
              <a:gd name="connsiteY90" fmla="*/ 0 h 5232401"/>
              <a:gd name="connsiteX91" fmla="*/ 4996450 w 4997428"/>
              <a:gd name="connsiteY91" fmla="*/ 3311432 h 5232401"/>
              <a:gd name="connsiteX92" fmla="*/ 4030887 w 4997428"/>
              <a:gd name="connsiteY92" fmla="*/ 1977273 h 5232401"/>
              <a:gd name="connsiteX93" fmla="*/ 4879116 w 4997428"/>
              <a:gd name="connsiteY93" fmla="*/ 134003 h 5232401"/>
              <a:gd name="connsiteX94" fmla="*/ 4930450 w 4997428"/>
              <a:gd name="connsiteY94" fmla="*/ 52819 h 5232401"/>
              <a:gd name="connsiteX95" fmla="*/ 4997428 w 4997428"/>
              <a:gd name="connsiteY95" fmla="*/ 0 h 5232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4997428" h="5232401">
                <a:moveTo>
                  <a:pt x="1715698" y="3352613"/>
                </a:moveTo>
                <a:cubicBezTo>
                  <a:pt x="1810607" y="3830261"/>
                  <a:pt x="1959330" y="4247774"/>
                  <a:pt x="2156976" y="4593909"/>
                </a:cubicBezTo>
                <a:cubicBezTo>
                  <a:pt x="2267417" y="4787877"/>
                  <a:pt x="2392719" y="4955995"/>
                  <a:pt x="2531849" y="5098469"/>
                </a:cubicBezTo>
                <a:lnTo>
                  <a:pt x="2675549" y="5232401"/>
                </a:lnTo>
                <a:lnTo>
                  <a:pt x="1556208" y="5232401"/>
                </a:lnTo>
                <a:lnTo>
                  <a:pt x="1356550" y="5183062"/>
                </a:lnTo>
                <a:cubicBezTo>
                  <a:pt x="400986" y="4928164"/>
                  <a:pt x="78673" y="4559748"/>
                  <a:pt x="33267" y="4501998"/>
                </a:cubicBezTo>
                <a:cubicBezTo>
                  <a:pt x="33267" y="4501998"/>
                  <a:pt x="33267" y="4501998"/>
                  <a:pt x="32778" y="4501509"/>
                </a:cubicBezTo>
                <a:cubicBezTo>
                  <a:pt x="10763" y="4468264"/>
                  <a:pt x="0" y="4431597"/>
                  <a:pt x="0" y="4392486"/>
                </a:cubicBezTo>
                <a:cubicBezTo>
                  <a:pt x="0" y="4328930"/>
                  <a:pt x="29843" y="4267330"/>
                  <a:pt x="77786" y="4231641"/>
                </a:cubicBezTo>
                <a:cubicBezTo>
                  <a:pt x="77786" y="4231641"/>
                  <a:pt x="103715" y="4214529"/>
                  <a:pt x="150191" y="4183240"/>
                </a:cubicBezTo>
                <a:cubicBezTo>
                  <a:pt x="150191" y="4183240"/>
                  <a:pt x="150191" y="4183240"/>
                  <a:pt x="150680" y="4182752"/>
                </a:cubicBezTo>
                <a:cubicBezTo>
                  <a:pt x="150680" y="4182752"/>
                  <a:pt x="150680" y="4182752"/>
                  <a:pt x="151170" y="4182263"/>
                </a:cubicBezTo>
                <a:cubicBezTo>
                  <a:pt x="186393" y="4155862"/>
                  <a:pt x="236783" y="4122618"/>
                  <a:pt x="300382" y="4080573"/>
                </a:cubicBezTo>
                <a:cubicBezTo>
                  <a:pt x="317505" y="4069818"/>
                  <a:pt x="335117" y="4058084"/>
                  <a:pt x="353707" y="4045862"/>
                </a:cubicBezTo>
                <a:cubicBezTo>
                  <a:pt x="511725" y="3944661"/>
                  <a:pt x="765631" y="3791149"/>
                  <a:pt x="1076776" y="3635682"/>
                </a:cubicBezTo>
                <a:cubicBezTo>
                  <a:pt x="1292033" y="3527148"/>
                  <a:pt x="1506801" y="3431814"/>
                  <a:pt x="1715698" y="3352613"/>
                </a:cubicBezTo>
                <a:close/>
                <a:moveTo>
                  <a:pt x="863321" y="2153521"/>
                </a:moveTo>
                <a:cubicBezTo>
                  <a:pt x="889759" y="2153521"/>
                  <a:pt x="917666" y="2153521"/>
                  <a:pt x="947042" y="2154010"/>
                </a:cubicBezTo>
                <a:cubicBezTo>
                  <a:pt x="1086087" y="2155479"/>
                  <a:pt x="1309832" y="2163310"/>
                  <a:pt x="1593308" y="2189739"/>
                </a:cubicBezTo>
                <a:cubicBezTo>
                  <a:pt x="1601141" y="2514728"/>
                  <a:pt x="1629538" y="2832864"/>
                  <a:pt x="1677518" y="3136317"/>
                </a:cubicBezTo>
                <a:cubicBezTo>
                  <a:pt x="1448877" y="3222948"/>
                  <a:pt x="1212892" y="3326710"/>
                  <a:pt x="974949" y="3444665"/>
                </a:cubicBezTo>
                <a:cubicBezTo>
                  <a:pt x="510323" y="2858805"/>
                  <a:pt x="439332" y="2469699"/>
                  <a:pt x="428560" y="2363980"/>
                </a:cubicBezTo>
                <a:cubicBezTo>
                  <a:pt x="425133" y="2327762"/>
                  <a:pt x="445207" y="2272455"/>
                  <a:pt x="460384" y="2250430"/>
                </a:cubicBezTo>
                <a:cubicBezTo>
                  <a:pt x="498083" y="2195123"/>
                  <a:pt x="554386" y="2161841"/>
                  <a:pt x="616075" y="2157926"/>
                </a:cubicBezTo>
                <a:cubicBezTo>
                  <a:pt x="616565" y="2157926"/>
                  <a:pt x="708609" y="2153521"/>
                  <a:pt x="863321" y="2153521"/>
                </a:cubicBezTo>
                <a:close/>
                <a:moveTo>
                  <a:pt x="3345492" y="1662983"/>
                </a:moveTo>
                <a:cubicBezTo>
                  <a:pt x="3359682" y="1662983"/>
                  <a:pt x="3374851" y="1669339"/>
                  <a:pt x="3391977" y="1682541"/>
                </a:cubicBezTo>
                <a:cubicBezTo>
                  <a:pt x="3392466" y="1683030"/>
                  <a:pt x="3409103" y="1695254"/>
                  <a:pt x="3439930" y="1722147"/>
                </a:cubicBezTo>
                <a:cubicBezTo>
                  <a:pt x="3471246" y="1747084"/>
                  <a:pt x="3515774" y="1785712"/>
                  <a:pt x="3577428" y="1839987"/>
                </a:cubicBezTo>
                <a:cubicBezTo>
                  <a:pt x="3659634" y="1913331"/>
                  <a:pt x="3826980" y="2067843"/>
                  <a:pt x="4022218" y="2282497"/>
                </a:cubicBezTo>
                <a:cubicBezTo>
                  <a:pt x="4330978" y="2626237"/>
                  <a:pt x="4740536" y="3168006"/>
                  <a:pt x="4935285" y="3795833"/>
                </a:cubicBezTo>
                <a:cubicBezTo>
                  <a:pt x="4960240" y="3876512"/>
                  <a:pt x="4978345" y="3929320"/>
                  <a:pt x="4997428" y="4005598"/>
                </a:cubicBezTo>
                <a:lnTo>
                  <a:pt x="4997428" y="4007994"/>
                </a:lnTo>
                <a:lnTo>
                  <a:pt x="4997428" y="4024767"/>
                </a:lnTo>
                <a:lnTo>
                  <a:pt x="4997428" y="4043037"/>
                </a:lnTo>
                <a:lnTo>
                  <a:pt x="4997428" y="4070293"/>
                </a:lnTo>
                <a:lnTo>
                  <a:pt x="4997428" y="4108331"/>
                </a:lnTo>
                <a:lnTo>
                  <a:pt x="4997428" y="4158949"/>
                </a:lnTo>
                <a:lnTo>
                  <a:pt x="4997428" y="4223943"/>
                </a:lnTo>
                <a:lnTo>
                  <a:pt x="4997428" y="4305111"/>
                </a:lnTo>
                <a:lnTo>
                  <a:pt x="4997428" y="4404250"/>
                </a:lnTo>
                <a:lnTo>
                  <a:pt x="4997428" y="4523156"/>
                </a:lnTo>
                <a:lnTo>
                  <a:pt x="4997428" y="4663628"/>
                </a:lnTo>
                <a:lnTo>
                  <a:pt x="4997428" y="4827461"/>
                </a:lnTo>
                <a:lnTo>
                  <a:pt x="4997428" y="5016454"/>
                </a:lnTo>
                <a:lnTo>
                  <a:pt x="4997428" y="5232401"/>
                </a:lnTo>
                <a:lnTo>
                  <a:pt x="3778537" y="5232401"/>
                </a:lnTo>
                <a:lnTo>
                  <a:pt x="3635107" y="5096624"/>
                </a:lnTo>
                <a:cubicBezTo>
                  <a:pt x="3497761" y="4947827"/>
                  <a:pt x="3381335" y="4759698"/>
                  <a:pt x="3309772" y="4529764"/>
                </a:cubicBezTo>
                <a:cubicBezTo>
                  <a:pt x="3193803" y="4155220"/>
                  <a:pt x="3134596" y="3713199"/>
                  <a:pt x="3134596" y="3215925"/>
                </a:cubicBezTo>
                <a:cubicBezTo>
                  <a:pt x="3134596" y="2598366"/>
                  <a:pt x="3224630" y="2060509"/>
                  <a:pt x="3263287" y="1857590"/>
                </a:cubicBezTo>
                <a:cubicBezTo>
                  <a:pt x="3277966" y="1783267"/>
                  <a:pt x="3286774" y="1742195"/>
                  <a:pt x="3286774" y="1742195"/>
                </a:cubicBezTo>
                <a:cubicBezTo>
                  <a:pt x="3296071" y="1706989"/>
                  <a:pt x="3313686" y="1662983"/>
                  <a:pt x="3345492" y="1662983"/>
                </a:cubicBezTo>
                <a:close/>
                <a:moveTo>
                  <a:pt x="1985716" y="829675"/>
                </a:moveTo>
                <a:cubicBezTo>
                  <a:pt x="1997948" y="829675"/>
                  <a:pt x="2017518" y="832120"/>
                  <a:pt x="2042469" y="842388"/>
                </a:cubicBezTo>
                <a:cubicBezTo>
                  <a:pt x="2042469" y="842388"/>
                  <a:pt x="2042469" y="842388"/>
                  <a:pt x="2043448" y="842877"/>
                </a:cubicBezTo>
                <a:cubicBezTo>
                  <a:pt x="2043448" y="842877"/>
                  <a:pt x="2043448" y="842877"/>
                  <a:pt x="2043937" y="842877"/>
                </a:cubicBezTo>
                <a:cubicBezTo>
                  <a:pt x="2044426" y="842877"/>
                  <a:pt x="2073781" y="853635"/>
                  <a:pt x="2127599" y="878572"/>
                </a:cubicBezTo>
                <a:cubicBezTo>
                  <a:pt x="2179949" y="899598"/>
                  <a:pt x="2249422" y="932360"/>
                  <a:pt x="2337487" y="973433"/>
                </a:cubicBezTo>
                <a:cubicBezTo>
                  <a:pt x="2337487" y="973433"/>
                  <a:pt x="2337487" y="973433"/>
                  <a:pt x="2367820" y="987614"/>
                </a:cubicBezTo>
                <a:cubicBezTo>
                  <a:pt x="2638376" y="1118659"/>
                  <a:pt x="2902081" y="1264862"/>
                  <a:pt x="3151109" y="1421823"/>
                </a:cubicBezTo>
                <a:cubicBezTo>
                  <a:pt x="3179486" y="1437959"/>
                  <a:pt x="3207862" y="1456051"/>
                  <a:pt x="3235749" y="1474632"/>
                </a:cubicBezTo>
                <a:cubicBezTo>
                  <a:pt x="3158937" y="1513261"/>
                  <a:pt x="3099738" y="1594431"/>
                  <a:pt x="3077722" y="1695160"/>
                </a:cubicBezTo>
                <a:cubicBezTo>
                  <a:pt x="3077232" y="1698094"/>
                  <a:pt x="3076743" y="1701028"/>
                  <a:pt x="3075765" y="1705428"/>
                </a:cubicBezTo>
                <a:cubicBezTo>
                  <a:pt x="3039560" y="1877547"/>
                  <a:pt x="2920183" y="2495122"/>
                  <a:pt x="2920183" y="3215871"/>
                </a:cubicBezTo>
                <a:cubicBezTo>
                  <a:pt x="2920183" y="3734673"/>
                  <a:pt x="2982318" y="4197732"/>
                  <a:pt x="3104141" y="4592334"/>
                </a:cubicBezTo>
                <a:cubicBezTo>
                  <a:pt x="3169456" y="4799171"/>
                  <a:pt x="3262842" y="4968050"/>
                  <a:pt x="3365309" y="5105368"/>
                </a:cubicBezTo>
                <a:lnTo>
                  <a:pt x="3470099" y="5232401"/>
                </a:lnTo>
                <a:lnTo>
                  <a:pt x="3038090" y="5232401"/>
                </a:lnTo>
                <a:lnTo>
                  <a:pt x="2939508" y="5168333"/>
                </a:lnTo>
                <a:cubicBezTo>
                  <a:pt x="2712833" y="5008865"/>
                  <a:pt x="2510131" y="4779856"/>
                  <a:pt x="2341890" y="4487205"/>
                </a:cubicBezTo>
                <a:cubicBezTo>
                  <a:pt x="1897651" y="3710224"/>
                  <a:pt x="1804694" y="2696580"/>
                  <a:pt x="1804694" y="1983166"/>
                </a:cubicBezTo>
                <a:cubicBezTo>
                  <a:pt x="1804694" y="1730366"/>
                  <a:pt x="1815947" y="1477077"/>
                  <a:pt x="1838941" y="1229656"/>
                </a:cubicBezTo>
                <a:cubicBezTo>
                  <a:pt x="1855576" y="1048246"/>
                  <a:pt x="1870743" y="940183"/>
                  <a:pt x="1870743" y="939205"/>
                </a:cubicBezTo>
                <a:cubicBezTo>
                  <a:pt x="1884442" y="867815"/>
                  <a:pt x="1922114" y="831631"/>
                  <a:pt x="1985716" y="829675"/>
                </a:cubicBezTo>
                <a:close/>
                <a:moveTo>
                  <a:pt x="3454840" y="225284"/>
                </a:moveTo>
                <a:cubicBezTo>
                  <a:pt x="3461689" y="225284"/>
                  <a:pt x="3468538" y="225773"/>
                  <a:pt x="3475877" y="226752"/>
                </a:cubicBezTo>
                <a:cubicBezTo>
                  <a:pt x="3475877" y="226752"/>
                  <a:pt x="3475877" y="226752"/>
                  <a:pt x="3476366" y="227241"/>
                </a:cubicBezTo>
                <a:cubicBezTo>
                  <a:pt x="3476366" y="227241"/>
                  <a:pt x="3476366" y="227241"/>
                  <a:pt x="3477345" y="227241"/>
                </a:cubicBezTo>
                <a:cubicBezTo>
                  <a:pt x="3493490" y="228709"/>
                  <a:pt x="3510613" y="235559"/>
                  <a:pt x="3527736" y="247791"/>
                </a:cubicBezTo>
                <a:cubicBezTo>
                  <a:pt x="3527736" y="247791"/>
                  <a:pt x="3527736" y="247791"/>
                  <a:pt x="3528226" y="248280"/>
                </a:cubicBezTo>
                <a:cubicBezTo>
                  <a:pt x="3528226" y="248280"/>
                  <a:pt x="3528226" y="248280"/>
                  <a:pt x="3529204" y="248769"/>
                </a:cubicBezTo>
                <a:cubicBezTo>
                  <a:pt x="3530182" y="249259"/>
                  <a:pt x="3646621" y="320692"/>
                  <a:pt x="3826172" y="449371"/>
                </a:cubicBezTo>
                <a:cubicBezTo>
                  <a:pt x="3925488" y="520805"/>
                  <a:pt x="4083512" y="638719"/>
                  <a:pt x="4276762" y="798712"/>
                </a:cubicBezTo>
                <a:cubicBezTo>
                  <a:pt x="4136350" y="1090318"/>
                  <a:pt x="4010616" y="1388285"/>
                  <a:pt x="3902494" y="1684785"/>
                </a:cubicBezTo>
                <a:cubicBezTo>
                  <a:pt x="3671573" y="1502775"/>
                  <a:pt x="3418636" y="1329573"/>
                  <a:pt x="3130963" y="1155881"/>
                </a:cubicBezTo>
                <a:cubicBezTo>
                  <a:pt x="3212666" y="743913"/>
                  <a:pt x="3305622" y="437139"/>
                  <a:pt x="3342314" y="323139"/>
                </a:cubicBezTo>
                <a:cubicBezTo>
                  <a:pt x="3343782" y="319224"/>
                  <a:pt x="3344271" y="316778"/>
                  <a:pt x="3345250" y="314332"/>
                </a:cubicBezTo>
                <a:cubicBezTo>
                  <a:pt x="3367755" y="255130"/>
                  <a:pt x="3404448" y="225284"/>
                  <a:pt x="3454840" y="225284"/>
                </a:cubicBezTo>
                <a:close/>
                <a:moveTo>
                  <a:pt x="4997428" y="0"/>
                </a:moveTo>
                <a:cubicBezTo>
                  <a:pt x="4997428" y="0"/>
                  <a:pt x="4997428" y="0"/>
                  <a:pt x="4996450" y="3311432"/>
                </a:cubicBezTo>
                <a:cubicBezTo>
                  <a:pt x="4786715" y="2861007"/>
                  <a:pt x="4449868" y="2413516"/>
                  <a:pt x="4030887" y="1977273"/>
                </a:cubicBezTo>
                <a:cubicBezTo>
                  <a:pt x="4316889" y="1108212"/>
                  <a:pt x="4718759" y="399563"/>
                  <a:pt x="4879116" y="134003"/>
                </a:cubicBezTo>
                <a:cubicBezTo>
                  <a:pt x="4912850" y="80695"/>
                  <a:pt x="4930450" y="52819"/>
                  <a:pt x="4930450" y="52819"/>
                </a:cubicBezTo>
                <a:cubicBezTo>
                  <a:pt x="4962717" y="3912"/>
                  <a:pt x="4989606" y="0"/>
                  <a:pt x="4997428" y="0"/>
                </a:cubicBezTo>
                <a:close/>
              </a:path>
            </a:pathLst>
          </a:custGeom>
          <a:solidFill>
            <a:schemeClr val="bg1">
              <a:alpha val="50000"/>
            </a:schemeClr>
          </a:solidFill>
        </p:spPr>
        <p:txBody>
          <a:bodyPr wrap="square">
            <a:noAutofit/>
          </a:bodyPr>
          <a:lstStyle>
            <a:lvl1pPr algn="ctr">
              <a:defRPr sz="1600" b="0">
                <a:solidFill>
                  <a:schemeClr val="bg1"/>
                </a:solidFill>
              </a:defRPr>
            </a:lvl1pPr>
          </a:lstStyle>
          <a:p>
            <a:r>
              <a:rPr lang="en-GB"/>
              <a:t>Click icon to insert an image and click reset in Home tab to fill the image in the shape</a:t>
            </a:r>
            <a:br>
              <a:rPr lang="en-GB"/>
            </a:br>
            <a:r>
              <a:rPr lang="en-GB"/>
              <a:t>If no image is inserted, this will stay as 50% transparent white shape</a:t>
            </a:r>
          </a:p>
        </p:txBody>
      </p:sp>
      <p:sp>
        <p:nvSpPr>
          <p:cNvPr id="83" name="Text Placeholder 82">
            <a:extLst>
              <a:ext uri="{FF2B5EF4-FFF2-40B4-BE49-F238E27FC236}">
                <a16:creationId xmlns:a16="http://schemas.microsoft.com/office/drawing/2014/main" id="{3ECE1A18-33D8-41AB-85CB-0266D4467476}"/>
              </a:ext>
            </a:extLst>
          </p:cNvPr>
          <p:cNvSpPr>
            <a:spLocks noGrp="1"/>
          </p:cNvSpPr>
          <p:nvPr>
            <p:ph type="body" sz="quarter" idx="11" hasCustomPrompt="1"/>
          </p:nvPr>
        </p:nvSpPr>
        <p:spPr>
          <a:xfrm>
            <a:off x="593768" y="3599135"/>
            <a:ext cx="5552920" cy="984885"/>
          </a:xfrm>
          <a:prstGeom prst="rect">
            <a:avLst/>
          </a:prstGeom>
        </p:spPr>
        <p:txBody>
          <a:bodyPr>
            <a:spAutoFit/>
          </a:bodyPr>
          <a:lstStyle>
            <a:lvl1pPr>
              <a:spcAft>
                <a:spcPts val="1200"/>
              </a:spcAft>
              <a:defRPr b="0">
                <a:solidFill>
                  <a:schemeClr val="bg1"/>
                </a:solidFill>
              </a:defRPr>
            </a:lvl1pPr>
            <a:lvl2pPr>
              <a:defRPr>
                <a:solidFill>
                  <a:schemeClr val="bg1"/>
                </a:solidFill>
              </a:defRPr>
            </a:lvl2pPr>
          </a:lstStyle>
          <a:p>
            <a:pPr lvl="0"/>
            <a:r>
              <a:rPr lang="en-US"/>
              <a:t>Subtitle goes here</a:t>
            </a:r>
          </a:p>
          <a:p>
            <a:pPr lvl="1"/>
            <a:r>
              <a:rPr lang="en-US"/>
              <a:t>Presenter Name</a:t>
            </a:r>
            <a:br>
              <a:rPr lang="en-US"/>
            </a:br>
            <a:endParaRPr lang="en-US"/>
          </a:p>
        </p:txBody>
      </p:sp>
      <p:pic>
        <p:nvPicPr>
          <p:cNvPr id="4" name="Picture 3">
            <a:extLst>
              <a:ext uri="{FF2B5EF4-FFF2-40B4-BE49-F238E27FC236}">
                <a16:creationId xmlns:a16="http://schemas.microsoft.com/office/drawing/2014/main" id="{718B4D21-31D3-AC42-9509-48CEBD66497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64704" y="5796874"/>
            <a:ext cx="780446" cy="843874"/>
          </a:xfrm>
          <a:prstGeom prst="rect">
            <a:avLst/>
          </a:prstGeom>
        </p:spPr>
      </p:pic>
    </p:spTree>
    <p:extLst>
      <p:ext uri="{BB962C8B-B14F-4D97-AF65-F5344CB8AC3E}">
        <p14:creationId xmlns:p14="http://schemas.microsoft.com/office/powerpoint/2010/main" val="1854907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35" presetClass="path" presetSubtype="0" decel="100000" fill="hold" grpId="1" nodeType="withEffect">
                                  <p:stCondLst>
                                    <p:cond delay="0"/>
                                  </p:stCondLst>
                                  <p:childTnLst>
                                    <p:animMotion origin="layout" path="M -2.29167E-6 -4.07407E-6 L -0.03659 -4.07407E-6 " pathEditMode="relative" rAng="0" ptsTypes="AA">
                                      <p:cBhvr>
                                        <p:cTn id="9" dur="1000" spd="-100000" fill="hold"/>
                                        <p:tgtEl>
                                          <p:spTgt spid="2"/>
                                        </p:tgtEl>
                                        <p:attrNameLst>
                                          <p:attrName>ppt_x</p:attrName>
                                          <p:attrName>ppt_y</p:attrName>
                                        </p:attrNameLst>
                                      </p:cBhvr>
                                      <p:rCtr x="-1836"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750"/>
                                        <p:tgtEl>
                                          <p:spTgt spid="37"/>
                                        </p:tgtEl>
                                      </p:cBhvr>
                                    </p:animEffect>
                                  </p:childTnLst>
                                </p:cTn>
                              </p:par>
                              <p:par>
                                <p:cTn id="13" presetID="35" presetClass="path" presetSubtype="0" decel="100000" fill="hold" grpId="1" nodeType="withEffect">
                                  <p:stCondLst>
                                    <p:cond delay="0"/>
                                  </p:stCondLst>
                                  <p:childTnLst>
                                    <p:animMotion origin="layout" path="M -2.08333E-6 1.48148E-6 L 0.02865 1.48148E-6 " pathEditMode="relative" rAng="0" ptsTypes="AA">
                                      <p:cBhvr>
                                        <p:cTn id="14" dur="1000" spd="-100000" fill="hold"/>
                                        <p:tgtEl>
                                          <p:spTgt spid="37"/>
                                        </p:tgtEl>
                                        <p:attrNameLst>
                                          <p:attrName>ppt_x</p:attrName>
                                          <p:attrName>ppt_y</p:attrName>
                                        </p:attrNameLst>
                                      </p:cBhvr>
                                      <p:rCtr x="1432" y="0"/>
                                    </p:animMotion>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83"/>
                                        </p:tgtEl>
                                        <p:attrNameLst>
                                          <p:attrName>style.visibility</p:attrName>
                                        </p:attrNameLst>
                                      </p:cBhvr>
                                      <p:to>
                                        <p:strVal val="visible"/>
                                      </p:to>
                                    </p:set>
                                    <p:animEffect transition="in" filter="fade">
                                      <p:cBhvr>
                                        <p:cTn id="18"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7" grpId="0" animBg="1"/>
      <p:bldP spid="37" grpId="1" animBg="1"/>
      <p:bldP spid="83" grpId="0" uiExpand="1">
        <p:tmplLst>
          <p:tmpl>
            <p:tnLst>
              <p:par>
                <p:cTn presetID="10" presetClass="entr" presetSubtype="0" fill="hold" nodeType="afterEffect">
                  <p:stCondLst>
                    <p:cond delay="0"/>
                  </p:stCondLst>
                  <p:childTnLst>
                    <p:set>
                      <p:cBhvr>
                        <p:cTn dur="1" fill="hold">
                          <p:stCondLst>
                            <p:cond delay="0"/>
                          </p:stCondLst>
                        </p:cTn>
                        <p:tgtEl>
                          <p:spTgt spid="83"/>
                        </p:tgtEl>
                        <p:attrNameLst>
                          <p:attrName>style.visibility</p:attrName>
                        </p:attrNameLst>
                      </p:cBhvr>
                      <p:to>
                        <p:strVal val="visible"/>
                      </p:to>
                    </p:set>
                    <p:animEffect transition="in" filter="fade">
                      <p:cBhvr>
                        <p:cTn dur="500"/>
                        <p:tgtEl>
                          <p:spTgt spid="83"/>
                        </p:tgtEl>
                      </p:cBhvr>
                    </p:animEffect>
                  </p:childTnLst>
                </p:cTn>
              </p:par>
            </p:tnLst>
          </p:tmpl>
        </p:tmplLst>
      </p:bldP>
    </p:bld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itle (B2) Blue">
    <p:bg>
      <p:bgPr>
        <a:solidFill>
          <a:schemeClr val="accent1"/>
        </a:solidFill>
        <a:effectLst/>
      </p:bgPr>
    </p:bg>
    <p:spTree>
      <p:nvGrpSpPr>
        <p:cNvPr id="1" name=""/>
        <p:cNvGrpSpPr/>
        <p:nvPr/>
      </p:nvGrpSpPr>
      <p:grpSpPr>
        <a:xfrm>
          <a:off x="0" y="0"/>
          <a:ext cx="0" cy="0"/>
          <a:chOff x="0" y="0"/>
          <a:chExt cx="0" cy="0"/>
        </a:xfrm>
      </p:grpSpPr>
      <p:sp>
        <p:nvSpPr>
          <p:cNvPr id="67" name="Rectangle 66">
            <a:extLst>
              <a:ext uri="{FF2B5EF4-FFF2-40B4-BE49-F238E27FC236}">
                <a16:creationId xmlns:a16="http://schemas.microsoft.com/office/drawing/2014/main" id="{7B57D39A-F5EF-4E9F-8855-867812DCC7DF}"/>
              </a:ext>
            </a:extLst>
          </p:cNvPr>
          <p:cNvSpPr/>
          <p:nvPr/>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t> </a:t>
            </a:r>
          </a:p>
        </p:txBody>
      </p:sp>
      <p:sp>
        <p:nvSpPr>
          <p:cNvPr id="2" name="Title 1">
            <a:extLst>
              <a:ext uri="{FF2B5EF4-FFF2-40B4-BE49-F238E27FC236}">
                <a16:creationId xmlns:a16="http://schemas.microsoft.com/office/drawing/2014/main" id="{F64D1DA5-55F2-40D3-B419-631F81A7BC28}"/>
              </a:ext>
            </a:extLst>
          </p:cNvPr>
          <p:cNvSpPr>
            <a:spLocks noGrp="1"/>
          </p:cNvSpPr>
          <p:nvPr>
            <p:ph type="title" hasCustomPrompt="1"/>
          </p:nvPr>
        </p:nvSpPr>
        <p:spPr>
          <a:xfrm>
            <a:off x="593768" y="2189852"/>
            <a:ext cx="5552921" cy="1181862"/>
          </a:xfrm>
          <a:prstGeom prst="rect">
            <a:avLst/>
          </a:prstGeom>
        </p:spPr>
        <p:txBody>
          <a:bodyPr anchor="b"/>
          <a:lstStyle>
            <a:lvl1pPr>
              <a:lnSpc>
                <a:spcPct val="80000"/>
              </a:lnSpc>
              <a:defRPr sz="4800">
                <a:solidFill>
                  <a:schemeClr val="bg1"/>
                </a:solidFill>
              </a:defRPr>
            </a:lvl1pPr>
          </a:lstStyle>
          <a:p>
            <a:r>
              <a:rPr lang="en-US"/>
              <a:t>Presentation title</a:t>
            </a:r>
            <a:br>
              <a:rPr lang="en-US"/>
            </a:br>
            <a:r>
              <a:rPr lang="en-US"/>
              <a:t>goes here</a:t>
            </a:r>
            <a:endParaRPr lang="en-GB"/>
          </a:p>
        </p:txBody>
      </p:sp>
      <p:sp>
        <p:nvSpPr>
          <p:cNvPr id="37" name="Picture Placeholder 36">
            <a:extLst>
              <a:ext uri="{FF2B5EF4-FFF2-40B4-BE49-F238E27FC236}">
                <a16:creationId xmlns:a16="http://schemas.microsoft.com/office/drawing/2014/main" id="{FB92D7A7-9D03-4CDA-8900-92AFCEA12729}"/>
              </a:ext>
            </a:extLst>
          </p:cNvPr>
          <p:cNvSpPr>
            <a:spLocks noGrp="1"/>
          </p:cNvSpPr>
          <p:nvPr>
            <p:ph type="pic" sz="quarter" idx="10" hasCustomPrompt="1"/>
          </p:nvPr>
        </p:nvSpPr>
        <p:spPr>
          <a:xfrm>
            <a:off x="7194572" y="1625597"/>
            <a:ext cx="4997428" cy="5232401"/>
          </a:xfrm>
          <a:custGeom>
            <a:avLst/>
            <a:gdLst>
              <a:gd name="connsiteX0" fmla="*/ 1715698 w 4997428"/>
              <a:gd name="connsiteY0" fmla="*/ 3352613 h 5232401"/>
              <a:gd name="connsiteX1" fmla="*/ 2156976 w 4997428"/>
              <a:gd name="connsiteY1" fmla="*/ 4593909 h 5232401"/>
              <a:gd name="connsiteX2" fmla="*/ 2531849 w 4997428"/>
              <a:gd name="connsiteY2" fmla="*/ 5098469 h 5232401"/>
              <a:gd name="connsiteX3" fmla="*/ 2675549 w 4997428"/>
              <a:gd name="connsiteY3" fmla="*/ 5232401 h 5232401"/>
              <a:gd name="connsiteX4" fmla="*/ 1556208 w 4997428"/>
              <a:gd name="connsiteY4" fmla="*/ 5232401 h 5232401"/>
              <a:gd name="connsiteX5" fmla="*/ 1356550 w 4997428"/>
              <a:gd name="connsiteY5" fmla="*/ 5183062 h 5232401"/>
              <a:gd name="connsiteX6" fmla="*/ 33267 w 4997428"/>
              <a:gd name="connsiteY6" fmla="*/ 4501998 h 5232401"/>
              <a:gd name="connsiteX7" fmla="*/ 32778 w 4997428"/>
              <a:gd name="connsiteY7" fmla="*/ 4501509 h 5232401"/>
              <a:gd name="connsiteX8" fmla="*/ 0 w 4997428"/>
              <a:gd name="connsiteY8" fmla="*/ 4392486 h 5232401"/>
              <a:gd name="connsiteX9" fmla="*/ 77786 w 4997428"/>
              <a:gd name="connsiteY9" fmla="*/ 4231641 h 5232401"/>
              <a:gd name="connsiteX10" fmla="*/ 150191 w 4997428"/>
              <a:gd name="connsiteY10" fmla="*/ 4183240 h 5232401"/>
              <a:gd name="connsiteX11" fmla="*/ 150680 w 4997428"/>
              <a:gd name="connsiteY11" fmla="*/ 4182752 h 5232401"/>
              <a:gd name="connsiteX12" fmla="*/ 151170 w 4997428"/>
              <a:gd name="connsiteY12" fmla="*/ 4182263 h 5232401"/>
              <a:gd name="connsiteX13" fmla="*/ 300382 w 4997428"/>
              <a:gd name="connsiteY13" fmla="*/ 4080573 h 5232401"/>
              <a:gd name="connsiteX14" fmla="*/ 353707 w 4997428"/>
              <a:gd name="connsiteY14" fmla="*/ 4045862 h 5232401"/>
              <a:gd name="connsiteX15" fmla="*/ 1076776 w 4997428"/>
              <a:gd name="connsiteY15" fmla="*/ 3635682 h 5232401"/>
              <a:gd name="connsiteX16" fmla="*/ 1715698 w 4997428"/>
              <a:gd name="connsiteY16" fmla="*/ 3352613 h 5232401"/>
              <a:gd name="connsiteX17" fmla="*/ 863321 w 4997428"/>
              <a:gd name="connsiteY17" fmla="*/ 2153521 h 5232401"/>
              <a:gd name="connsiteX18" fmla="*/ 947042 w 4997428"/>
              <a:gd name="connsiteY18" fmla="*/ 2154010 h 5232401"/>
              <a:gd name="connsiteX19" fmla="*/ 1593308 w 4997428"/>
              <a:gd name="connsiteY19" fmla="*/ 2189739 h 5232401"/>
              <a:gd name="connsiteX20" fmla="*/ 1677518 w 4997428"/>
              <a:gd name="connsiteY20" fmla="*/ 3136317 h 5232401"/>
              <a:gd name="connsiteX21" fmla="*/ 974949 w 4997428"/>
              <a:gd name="connsiteY21" fmla="*/ 3444665 h 5232401"/>
              <a:gd name="connsiteX22" fmla="*/ 428560 w 4997428"/>
              <a:gd name="connsiteY22" fmla="*/ 2363980 h 5232401"/>
              <a:gd name="connsiteX23" fmla="*/ 460384 w 4997428"/>
              <a:gd name="connsiteY23" fmla="*/ 2250430 h 5232401"/>
              <a:gd name="connsiteX24" fmla="*/ 616075 w 4997428"/>
              <a:gd name="connsiteY24" fmla="*/ 2157926 h 5232401"/>
              <a:gd name="connsiteX25" fmla="*/ 863321 w 4997428"/>
              <a:gd name="connsiteY25" fmla="*/ 2153521 h 5232401"/>
              <a:gd name="connsiteX26" fmla="*/ 3345492 w 4997428"/>
              <a:gd name="connsiteY26" fmla="*/ 1662983 h 5232401"/>
              <a:gd name="connsiteX27" fmla="*/ 3391977 w 4997428"/>
              <a:gd name="connsiteY27" fmla="*/ 1682541 h 5232401"/>
              <a:gd name="connsiteX28" fmla="*/ 3439930 w 4997428"/>
              <a:gd name="connsiteY28" fmla="*/ 1722147 h 5232401"/>
              <a:gd name="connsiteX29" fmla="*/ 3577428 w 4997428"/>
              <a:gd name="connsiteY29" fmla="*/ 1839987 h 5232401"/>
              <a:gd name="connsiteX30" fmla="*/ 4022218 w 4997428"/>
              <a:gd name="connsiteY30" fmla="*/ 2282497 h 5232401"/>
              <a:gd name="connsiteX31" fmla="*/ 4935285 w 4997428"/>
              <a:gd name="connsiteY31" fmla="*/ 3795833 h 5232401"/>
              <a:gd name="connsiteX32" fmla="*/ 4997428 w 4997428"/>
              <a:gd name="connsiteY32" fmla="*/ 4005598 h 5232401"/>
              <a:gd name="connsiteX33" fmla="*/ 4997428 w 4997428"/>
              <a:gd name="connsiteY33" fmla="*/ 4007994 h 5232401"/>
              <a:gd name="connsiteX34" fmla="*/ 4997428 w 4997428"/>
              <a:gd name="connsiteY34" fmla="*/ 4024767 h 5232401"/>
              <a:gd name="connsiteX35" fmla="*/ 4997428 w 4997428"/>
              <a:gd name="connsiteY35" fmla="*/ 4043037 h 5232401"/>
              <a:gd name="connsiteX36" fmla="*/ 4997428 w 4997428"/>
              <a:gd name="connsiteY36" fmla="*/ 4070293 h 5232401"/>
              <a:gd name="connsiteX37" fmla="*/ 4997428 w 4997428"/>
              <a:gd name="connsiteY37" fmla="*/ 4108331 h 5232401"/>
              <a:gd name="connsiteX38" fmla="*/ 4997428 w 4997428"/>
              <a:gd name="connsiteY38" fmla="*/ 4158949 h 5232401"/>
              <a:gd name="connsiteX39" fmla="*/ 4997428 w 4997428"/>
              <a:gd name="connsiteY39" fmla="*/ 4223943 h 5232401"/>
              <a:gd name="connsiteX40" fmla="*/ 4997428 w 4997428"/>
              <a:gd name="connsiteY40" fmla="*/ 4305111 h 5232401"/>
              <a:gd name="connsiteX41" fmla="*/ 4997428 w 4997428"/>
              <a:gd name="connsiteY41" fmla="*/ 4404250 h 5232401"/>
              <a:gd name="connsiteX42" fmla="*/ 4997428 w 4997428"/>
              <a:gd name="connsiteY42" fmla="*/ 4523156 h 5232401"/>
              <a:gd name="connsiteX43" fmla="*/ 4997428 w 4997428"/>
              <a:gd name="connsiteY43" fmla="*/ 4663628 h 5232401"/>
              <a:gd name="connsiteX44" fmla="*/ 4997428 w 4997428"/>
              <a:gd name="connsiteY44" fmla="*/ 4827461 h 5232401"/>
              <a:gd name="connsiteX45" fmla="*/ 4997428 w 4997428"/>
              <a:gd name="connsiteY45" fmla="*/ 5016454 h 5232401"/>
              <a:gd name="connsiteX46" fmla="*/ 4997428 w 4997428"/>
              <a:gd name="connsiteY46" fmla="*/ 5232401 h 5232401"/>
              <a:gd name="connsiteX47" fmla="*/ 3778537 w 4997428"/>
              <a:gd name="connsiteY47" fmla="*/ 5232401 h 5232401"/>
              <a:gd name="connsiteX48" fmla="*/ 3635107 w 4997428"/>
              <a:gd name="connsiteY48" fmla="*/ 5096624 h 5232401"/>
              <a:gd name="connsiteX49" fmla="*/ 3309772 w 4997428"/>
              <a:gd name="connsiteY49" fmla="*/ 4529764 h 5232401"/>
              <a:gd name="connsiteX50" fmla="*/ 3134596 w 4997428"/>
              <a:gd name="connsiteY50" fmla="*/ 3215925 h 5232401"/>
              <a:gd name="connsiteX51" fmla="*/ 3263287 w 4997428"/>
              <a:gd name="connsiteY51" fmla="*/ 1857590 h 5232401"/>
              <a:gd name="connsiteX52" fmla="*/ 3286774 w 4997428"/>
              <a:gd name="connsiteY52" fmla="*/ 1742195 h 5232401"/>
              <a:gd name="connsiteX53" fmla="*/ 3345492 w 4997428"/>
              <a:gd name="connsiteY53" fmla="*/ 1662983 h 5232401"/>
              <a:gd name="connsiteX54" fmla="*/ 1985716 w 4997428"/>
              <a:gd name="connsiteY54" fmla="*/ 829675 h 5232401"/>
              <a:gd name="connsiteX55" fmla="*/ 2042469 w 4997428"/>
              <a:gd name="connsiteY55" fmla="*/ 842388 h 5232401"/>
              <a:gd name="connsiteX56" fmla="*/ 2043448 w 4997428"/>
              <a:gd name="connsiteY56" fmla="*/ 842877 h 5232401"/>
              <a:gd name="connsiteX57" fmla="*/ 2043937 w 4997428"/>
              <a:gd name="connsiteY57" fmla="*/ 842877 h 5232401"/>
              <a:gd name="connsiteX58" fmla="*/ 2127599 w 4997428"/>
              <a:gd name="connsiteY58" fmla="*/ 878572 h 5232401"/>
              <a:gd name="connsiteX59" fmla="*/ 2337487 w 4997428"/>
              <a:gd name="connsiteY59" fmla="*/ 973433 h 5232401"/>
              <a:gd name="connsiteX60" fmla="*/ 2367820 w 4997428"/>
              <a:gd name="connsiteY60" fmla="*/ 987614 h 5232401"/>
              <a:gd name="connsiteX61" fmla="*/ 3151109 w 4997428"/>
              <a:gd name="connsiteY61" fmla="*/ 1421823 h 5232401"/>
              <a:gd name="connsiteX62" fmla="*/ 3235749 w 4997428"/>
              <a:gd name="connsiteY62" fmla="*/ 1474632 h 5232401"/>
              <a:gd name="connsiteX63" fmla="*/ 3077722 w 4997428"/>
              <a:gd name="connsiteY63" fmla="*/ 1695160 h 5232401"/>
              <a:gd name="connsiteX64" fmla="*/ 3075765 w 4997428"/>
              <a:gd name="connsiteY64" fmla="*/ 1705428 h 5232401"/>
              <a:gd name="connsiteX65" fmla="*/ 2920183 w 4997428"/>
              <a:gd name="connsiteY65" fmla="*/ 3215871 h 5232401"/>
              <a:gd name="connsiteX66" fmla="*/ 3104141 w 4997428"/>
              <a:gd name="connsiteY66" fmla="*/ 4592334 h 5232401"/>
              <a:gd name="connsiteX67" fmla="*/ 3365309 w 4997428"/>
              <a:gd name="connsiteY67" fmla="*/ 5105368 h 5232401"/>
              <a:gd name="connsiteX68" fmla="*/ 3470099 w 4997428"/>
              <a:gd name="connsiteY68" fmla="*/ 5232401 h 5232401"/>
              <a:gd name="connsiteX69" fmla="*/ 3038090 w 4997428"/>
              <a:gd name="connsiteY69" fmla="*/ 5232401 h 5232401"/>
              <a:gd name="connsiteX70" fmla="*/ 2939508 w 4997428"/>
              <a:gd name="connsiteY70" fmla="*/ 5168333 h 5232401"/>
              <a:gd name="connsiteX71" fmla="*/ 2341890 w 4997428"/>
              <a:gd name="connsiteY71" fmla="*/ 4487205 h 5232401"/>
              <a:gd name="connsiteX72" fmla="*/ 1804694 w 4997428"/>
              <a:gd name="connsiteY72" fmla="*/ 1983166 h 5232401"/>
              <a:gd name="connsiteX73" fmla="*/ 1838941 w 4997428"/>
              <a:gd name="connsiteY73" fmla="*/ 1229656 h 5232401"/>
              <a:gd name="connsiteX74" fmla="*/ 1870743 w 4997428"/>
              <a:gd name="connsiteY74" fmla="*/ 939205 h 5232401"/>
              <a:gd name="connsiteX75" fmla="*/ 1985716 w 4997428"/>
              <a:gd name="connsiteY75" fmla="*/ 829675 h 5232401"/>
              <a:gd name="connsiteX76" fmla="*/ 3454840 w 4997428"/>
              <a:gd name="connsiteY76" fmla="*/ 225284 h 5232401"/>
              <a:gd name="connsiteX77" fmla="*/ 3475877 w 4997428"/>
              <a:gd name="connsiteY77" fmla="*/ 226752 h 5232401"/>
              <a:gd name="connsiteX78" fmla="*/ 3476366 w 4997428"/>
              <a:gd name="connsiteY78" fmla="*/ 227241 h 5232401"/>
              <a:gd name="connsiteX79" fmla="*/ 3477345 w 4997428"/>
              <a:gd name="connsiteY79" fmla="*/ 227241 h 5232401"/>
              <a:gd name="connsiteX80" fmla="*/ 3527736 w 4997428"/>
              <a:gd name="connsiteY80" fmla="*/ 247791 h 5232401"/>
              <a:gd name="connsiteX81" fmla="*/ 3528226 w 4997428"/>
              <a:gd name="connsiteY81" fmla="*/ 248280 h 5232401"/>
              <a:gd name="connsiteX82" fmla="*/ 3529204 w 4997428"/>
              <a:gd name="connsiteY82" fmla="*/ 248769 h 5232401"/>
              <a:gd name="connsiteX83" fmla="*/ 3826172 w 4997428"/>
              <a:gd name="connsiteY83" fmla="*/ 449371 h 5232401"/>
              <a:gd name="connsiteX84" fmla="*/ 4276762 w 4997428"/>
              <a:gd name="connsiteY84" fmla="*/ 798712 h 5232401"/>
              <a:gd name="connsiteX85" fmla="*/ 3902494 w 4997428"/>
              <a:gd name="connsiteY85" fmla="*/ 1684785 h 5232401"/>
              <a:gd name="connsiteX86" fmla="*/ 3130963 w 4997428"/>
              <a:gd name="connsiteY86" fmla="*/ 1155881 h 5232401"/>
              <a:gd name="connsiteX87" fmla="*/ 3342314 w 4997428"/>
              <a:gd name="connsiteY87" fmla="*/ 323139 h 5232401"/>
              <a:gd name="connsiteX88" fmla="*/ 3345250 w 4997428"/>
              <a:gd name="connsiteY88" fmla="*/ 314332 h 5232401"/>
              <a:gd name="connsiteX89" fmla="*/ 3454840 w 4997428"/>
              <a:gd name="connsiteY89" fmla="*/ 225284 h 5232401"/>
              <a:gd name="connsiteX90" fmla="*/ 4997428 w 4997428"/>
              <a:gd name="connsiteY90" fmla="*/ 0 h 5232401"/>
              <a:gd name="connsiteX91" fmla="*/ 4996450 w 4997428"/>
              <a:gd name="connsiteY91" fmla="*/ 3311432 h 5232401"/>
              <a:gd name="connsiteX92" fmla="*/ 4030887 w 4997428"/>
              <a:gd name="connsiteY92" fmla="*/ 1977273 h 5232401"/>
              <a:gd name="connsiteX93" fmla="*/ 4879116 w 4997428"/>
              <a:gd name="connsiteY93" fmla="*/ 134003 h 5232401"/>
              <a:gd name="connsiteX94" fmla="*/ 4930450 w 4997428"/>
              <a:gd name="connsiteY94" fmla="*/ 52819 h 5232401"/>
              <a:gd name="connsiteX95" fmla="*/ 4997428 w 4997428"/>
              <a:gd name="connsiteY95" fmla="*/ 0 h 5232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4997428" h="5232401">
                <a:moveTo>
                  <a:pt x="1715698" y="3352613"/>
                </a:moveTo>
                <a:cubicBezTo>
                  <a:pt x="1810607" y="3830261"/>
                  <a:pt x="1959330" y="4247774"/>
                  <a:pt x="2156976" y="4593909"/>
                </a:cubicBezTo>
                <a:cubicBezTo>
                  <a:pt x="2267417" y="4787877"/>
                  <a:pt x="2392719" y="4955995"/>
                  <a:pt x="2531849" y="5098469"/>
                </a:cubicBezTo>
                <a:lnTo>
                  <a:pt x="2675549" y="5232401"/>
                </a:lnTo>
                <a:lnTo>
                  <a:pt x="1556208" y="5232401"/>
                </a:lnTo>
                <a:lnTo>
                  <a:pt x="1356550" y="5183062"/>
                </a:lnTo>
                <a:cubicBezTo>
                  <a:pt x="400986" y="4928164"/>
                  <a:pt x="78673" y="4559748"/>
                  <a:pt x="33267" y="4501998"/>
                </a:cubicBezTo>
                <a:cubicBezTo>
                  <a:pt x="33267" y="4501998"/>
                  <a:pt x="33267" y="4501998"/>
                  <a:pt x="32778" y="4501509"/>
                </a:cubicBezTo>
                <a:cubicBezTo>
                  <a:pt x="10763" y="4468264"/>
                  <a:pt x="0" y="4431597"/>
                  <a:pt x="0" y="4392486"/>
                </a:cubicBezTo>
                <a:cubicBezTo>
                  <a:pt x="0" y="4328930"/>
                  <a:pt x="29843" y="4267330"/>
                  <a:pt x="77786" y="4231641"/>
                </a:cubicBezTo>
                <a:cubicBezTo>
                  <a:pt x="77786" y="4231641"/>
                  <a:pt x="103715" y="4214529"/>
                  <a:pt x="150191" y="4183240"/>
                </a:cubicBezTo>
                <a:cubicBezTo>
                  <a:pt x="150191" y="4183240"/>
                  <a:pt x="150191" y="4183240"/>
                  <a:pt x="150680" y="4182752"/>
                </a:cubicBezTo>
                <a:cubicBezTo>
                  <a:pt x="150680" y="4182752"/>
                  <a:pt x="150680" y="4182752"/>
                  <a:pt x="151170" y="4182263"/>
                </a:cubicBezTo>
                <a:cubicBezTo>
                  <a:pt x="186393" y="4155862"/>
                  <a:pt x="236783" y="4122618"/>
                  <a:pt x="300382" y="4080573"/>
                </a:cubicBezTo>
                <a:cubicBezTo>
                  <a:pt x="317505" y="4069818"/>
                  <a:pt x="335117" y="4058084"/>
                  <a:pt x="353707" y="4045862"/>
                </a:cubicBezTo>
                <a:cubicBezTo>
                  <a:pt x="511725" y="3944661"/>
                  <a:pt x="765631" y="3791149"/>
                  <a:pt x="1076776" y="3635682"/>
                </a:cubicBezTo>
                <a:cubicBezTo>
                  <a:pt x="1292033" y="3527148"/>
                  <a:pt x="1506801" y="3431814"/>
                  <a:pt x="1715698" y="3352613"/>
                </a:cubicBezTo>
                <a:close/>
                <a:moveTo>
                  <a:pt x="863321" y="2153521"/>
                </a:moveTo>
                <a:cubicBezTo>
                  <a:pt x="889759" y="2153521"/>
                  <a:pt x="917666" y="2153521"/>
                  <a:pt x="947042" y="2154010"/>
                </a:cubicBezTo>
                <a:cubicBezTo>
                  <a:pt x="1086087" y="2155479"/>
                  <a:pt x="1309832" y="2163310"/>
                  <a:pt x="1593308" y="2189739"/>
                </a:cubicBezTo>
                <a:cubicBezTo>
                  <a:pt x="1601141" y="2514728"/>
                  <a:pt x="1629538" y="2832864"/>
                  <a:pt x="1677518" y="3136317"/>
                </a:cubicBezTo>
                <a:cubicBezTo>
                  <a:pt x="1448877" y="3222948"/>
                  <a:pt x="1212892" y="3326710"/>
                  <a:pt x="974949" y="3444665"/>
                </a:cubicBezTo>
                <a:cubicBezTo>
                  <a:pt x="510323" y="2858805"/>
                  <a:pt x="439332" y="2469699"/>
                  <a:pt x="428560" y="2363980"/>
                </a:cubicBezTo>
                <a:cubicBezTo>
                  <a:pt x="425133" y="2327762"/>
                  <a:pt x="445207" y="2272455"/>
                  <a:pt x="460384" y="2250430"/>
                </a:cubicBezTo>
                <a:cubicBezTo>
                  <a:pt x="498083" y="2195123"/>
                  <a:pt x="554386" y="2161841"/>
                  <a:pt x="616075" y="2157926"/>
                </a:cubicBezTo>
                <a:cubicBezTo>
                  <a:pt x="616565" y="2157926"/>
                  <a:pt x="708609" y="2153521"/>
                  <a:pt x="863321" y="2153521"/>
                </a:cubicBezTo>
                <a:close/>
                <a:moveTo>
                  <a:pt x="3345492" y="1662983"/>
                </a:moveTo>
                <a:cubicBezTo>
                  <a:pt x="3359682" y="1662983"/>
                  <a:pt x="3374851" y="1669339"/>
                  <a:pt x="3391977" y="1682541"/>
                </a:cubicBezTo>
                <a:cubicBezTo>
                  <a:pt x="3392466" y="1683030"/>
                  <a:pt x="3409103" y="1695254"/>
                  <a:pt x="3439930" y="1722147"/>
                </a:cubicBezTo>
                <a:cubicBezTo>
                  <a:pt x="3471246" y="1747084"/>
                  <a:pt x="3515774" y="1785712"/>
                  <a:pt x="3577428" y="1839987"/>
                </a:cubicBezTo>
                <a:cubicBezTo>
                  <a:pt x="3659634" y="1913331"/>
                  <a:pt x="3826980" y="2067843"/>
                  <a:pt x="4022218" y="2282497"/>
                </a:cubicBezTo>
                <a:cubicBezTo>
                  <a:pt x="4330978" y="2626237"/>
                  <a:pt x="4740536" y="3168006"/>
                  <a:pt x="4935285" y="3795833"/>
                </a:cubicBezTo>
                <a:cubicBezTo>
                  <a:pt x="4960240" y="3876512"/>
                  <a:pt x="4978345" y="3929320"/>
                  <a:pt x="4997428" y="4005598"/>
                </a:cubicBezTo>
                <a:lnTo>
                  <a:pt x="4997428" y="4007994"/>
                </a:lnTo>
                <a:lnTo>
                  <a:pt x="4997428" y="4024767"/>
                </a:lnTo>
                <a:lnTo>
                  <a:pt x="4997428" y="4043037"/>
                </a:lnTo>
                <a:lnTo>
                  <a:pt x="4997428" y="4070293"/>
                </a:lnTo>
                <a:lnTo>
                  <a:pt x="4997428" y="4108331"/>
                </a:lnTo>
                <a:lnTo>
                  <a:pt x="4997428" y="4158949"/>
                </a:lnTo>
                <a:lnTo>
                  <a:pt x="4997428" y="4223943"/>
                </a:lnTo>
                <a:lnTo>
                  <a:pt x="4997428" y="4305111"/>
                </a:lnTo>
                <a:lnTo>
                  <a:pt x="4997428" y="4404250"/>
                </a:lnTo>
                <a:lnTo>
                  <a:pt x="4997428" y="4523156"/>
                </a:lnTo>
                <a:lnTo>
                  <a:pt x="4997428" y="4663628"/>
                </a:lnTo>
                <a:lnTo>
                  <a:pt x="4997428" y="4827461"/>
                </a:lnTo>
                <a:lnTo>
                  <a:pt x="4997428" y="5016454"/>
                </a:lnTo>
                <a:lnTo>
                  <a:pt x="4997428" y="5232401"/>
                </a:lnTo>
                <a:lnTo>
                  <a:pt x="3778537" y="5232401"/>
                </a:lnTo>
                <a:lnTo>
                  <a:pt x="3635107" y="5096624"/>
                </a:lnTo>
                <a:cubicBezTo>
                  <a:pt x="3497761" y="4947827"/>
                  <a:pt x="3381335" y="4759698"/>
                  <a:pt x="3309772" y="4529764"/>
                </a:cubicBezTo>
                <a:cubicBezTo>
                  <a:pt x="3193803" y="4155220"/>
                  <a:pt x="3134596" y="3713199"/>
                  <a:pt x="3134596" y="3215925"/>
                </a:cubicBezTo>
                <a:cubicBezTo>
                  <a:pt x="3134596" y="2598366"/>
                  <a:pt x="3224630" y="2060509"/>
                  <a:pt x="3263287" y="1857590"/>
                </a:cubicBezTo>
                <a:cubicBezTo>
                  <a:pt x="3277966" y="1783267"/>
                  <a:pt x="3286774" y="1742195"/>
                  <a:pt x="3286774" y="1742195"/>
                </a:cubicBezTo>
                <a:cubicBezTo>
                  <a:pt x="3296071" y="1706989"/>
                  <a:pt x="3313686" y="1662983"/>
                  <a:pt x="3345492" y="1662983"/>
                </a:cubicBezTo>
                <a:close/>
                <a:moveTo>
                  <a:pt x="1985716" y="829675"/>
                </a:moveTo>
                <a:cubicBezTo>
                  <a:pt x="1997948" y="829675"/>
                  <a:pt x="2017518" y="832120"/>
                  <a:pt x="2042469" y="842388"/>
                </a:cubicBezTo>
                <a:cubicBezTo>
                  <a:pt x="2042469" y="842388"/>
                  <a:pt x="2042469" y="842388"/>
                  <a:pt x="2043448" y="842877"/>
                </a:cubicBezTo>
                <a:cubicBezTo>
                  <a:pt x="2043448" y="842877"/>
                  <a:pt x="2043448" y="842877"/>
                  <a:pt x="2043937" y="842877"/>
                </a:cubicBezTo>
                <a:cubicBezTo>
                  <a:pt x="2044426" y="842877"/>
                  <a:pt x="2073781" y="853635"/>
                  <a:pt x="2127599" y="878572"/>
                </a:cubicBezTo>
                <a:cubicBezTo>
                  <a:pt x="2179949" y="899598"/>
                  <a:pt x="2249422" y="932360"/>
                  <a:pt x="2337487" y="973433"/>
                </a:cubicBezTo>
                <a:cubicBezTo>
                  <a:pt x="2337487" y="973433"/>
                  <a:pt x="2337487" y="973433"/>
                  <a:pt x="2367820" y="987614"/>
                </a:cubicBezTo>
                <a:cubicBezTo>
                  <a:pt x="2638376" y="1118659"/>
                  <a:pt x="2902081" y="1264862"/>
                  <a:pt x="3151109" y="1421823"/>
                </a:cubicBezTo>
                <a:cubicBezTo>
                  <a:pt x="3179486" y="1437959"/>
                  <a:pt x="3207862" y="1456051"/>
                  <a:pt x="3235749" y="1474632"/>
                </a:cubicBezTo>
                <a:cubicBezTo>
                  <a:pt x="3158937" y="1513261"/>
                  <a:pt x="3099738" y="1594431"/>
                  <a:pt x="3077722" y="1695160"/>
                </a:cubicBezTo>
                <a:cubicBezTo>
                  <a:pt x="3077232" y="1698094"/>
                  <a:pt x="3076743" y="1701028"/>
                  <a:pt x="3075765" y="1705428"/>
                </a:cubicBezTo>
                <a:cubicBezTo>
                  <a:pt x="3039560" y="1877547"/>
                  <a:pt x="2920183" y="2495122"/>
                  <a:pt x="2920183" y="3215871"/>
                </a:cubicBezTo>
                <a:cubicBezTo>
                  <a:pt x="2920183" y="3734673"/>
                  <a:pt x="2982318" y="4197732"/>
                  <a:pt x="3104141" y="4592334"/>
                </a:cubicBezTo>
                <a:cubicBezTo>
                  <a:pt x="3169456" y="4799171"/>
                  <a:pt x="3262842" y="4968050"/>
                  <a:pt x="3365309" y="5105368"/>
                </a:cubicBezTo>
                <a:lnTo>
                  <a:pt x="3470099" y="5232401"/>
                </a:lnTo>
                <a:lnTo>
                  <a:pt x="3038090" y="5232401"/>
                </a:lnTo>
                <a:lnTo>
                  <a:pt x="2939508" y="5168333"/>
                </a:lnTo>
                <a:cubicBezTo>
                  <a:pt x="2712833" y="5008865"/>
                  <a:pt x="2510131" y="4779856"/>
                  <a:pt x="2341890" y="4487205"/>
                </a:cubicBezTo>
                <a:cubicBezTo>
                  <a:pt x="1897651" y="3710224"/>
                  <a:pt x="1804694" y="2696580"/>
                  <a:pt x="1804694" y="1983166"/>
                </a:cubicBezTo>
                <a:cubicBezTo>
                  <a:pt x="1804694" y="1730366"/>
                  <a:pt x="1815947" y="1477077"/>
                  <a:pt x="1838941" y="1229656"/>
                </a:cubicBezTo>
                <a:cubicBezTo>
                  <a:pt x="1855576" y="1048246"/>
                  <a:pt x="1870743" y="940183"/>
                  <a:pt x="1870743" y="939205"/>
                </a:cubicBezTo>
                <a:cubicBezTo>
                  <a:pt x="1884442" y="867815"/>
                  <a:pt x="1922114" y="831631"/>
                  <a:pt x="1985716" y="829675"/>
                </a:cubicBezTo>
                <a:close/>
                <a:moveTo>
                  <a:pt x="3454840" y="225284"/>
                </a:moveTo>
                <a:cubicBezTo>
                  <a:pt x="3461689" y="225284"/>
                  <a:pt x="3468538" y="225773"/>
                  <a:pt x="3475877" y="226752"/>
                </a:cubicBezTo>
                <a:cubicBezTo>
                  <a:pt x="3475877" y="226752"/>
                  <a:pt x="3475877" y="226752"/>
                  <a:pt x="3476366" y="227241"/>
                </a:cubicBezTo>
                <a:cubicBezTo>
                  <a:pt x="3476366" y="227241"/>
                  <a:pt x="3476366" y="227241"/>
                  <a:pt x="3477345" y="227241"/>
                </a:cubicBezTo>
                <a:cubicBezTo>
                  <a:pt x="3493490" y="228709"/>
                  <a:pt x="3510613" y="235559"/>
                  <a:pt x="3527736" y="247791"/>
                </a:cubicBezTo>
                <a:cubicBezTo>
                  <a:pt x="3527736" y="247791"/>
                  <a:pt x="3527736" y="247791"/>
                  <a:pt x="3528226" y="248280"/>
                </a:cubicBezTo>
                <a:cubicBezTo>
                  <a:pt x="3528226" y="248280"/>
                  <a:pt x="3528226" y="248280"/>
                  <a:pt x="3529204" y="248769"/>
                </a:cubicBezTo>
                <a:cubicBezTo>
                  <a:pt x="3530182" y="249259"/>
                  <a:pt x="3646621" y="320692"/>
                  <a:pt x="3826172" y="449371"/>
                </a:cubicBezTo>
                <a:cubicBezTo>
                  <a:pt x="3925488" y="520805"/>
                  <a:pt x="4083512" y="638719"/>
                  <a:pt x="4276762" y="798712"/>
                </a:cubicBezTo>
                <a:cubicBezTo>
                  <a:pt x="4136350" y="1090318"/>
                  <a:pt x="4010616" y="1388285"/>
                  <a:pt x="3902494" y="1684785"/>
                </a:cubicBezTo>
                <a:cubicBezTo>
                  <a:pt x="3671573" y="1502775"/>
                  <a:pt x="3418636" y="1329573"/>
                  <a:pt x="3130963" y="1155881"/>
                </a:cubicBezTo>
                <a:cubicBezTo>
                  <a:pt x="3212666" y="743913"/>
                  <a:pt x="3305622" y="437139"/>
                  <a:pt x="3342314" y="323139"/>
                </a:cubicBezTo>
                <a:cubicBezTo>
                  <a:pt x="3343782" y="319224"/>
                  <a:pt x="3344271" y="316778"/>
                  <a:pt x="3345250" y="314332"/>
                </a:cubicBezTo>
                <a:cubicBezTo>
                  <a:pt x="3367755" y="255130"/>
                  <a:pt x="3404448" y="225284"/>
                  <a:pt x="3454840" y="225284"/>
                </a:cubicBezTo>
                <a:close/>
                <a:moveTo>
                  <a:pt x="4997428" y="0"/>
                </a:moveTo>
                <a:cubicBezTo>
                  <a:pt x="4997428" y="0"/>
                  <a:pt x="4997428" y="0"/>
                  <a:pt x="4996450" y="3311432"/>
                </a:cubicBezTo>
                <a:cubicBezTo>
                  <a:pt x="4786715" y="2861007"/>
                  <a:pt x="4449868" y="2413516"/>
                  <a:pt x="4030887" y="1977273"/>
                </a:cubicBezTo>
                <a:cubicBezTo>
                  <a:pt x="4316889" y="1108212"/>
                  <a:pt x="4718759" y="399563"/>
                  <a:pt x="4879116" y="134003"/>
                </a:cubicBezTo>
                <a:cubicBezTo>
                  <a:pt x="4912850" y="80695"/>
                  <a:pt x="4930450" y="52819"/>
                  <a:pt x="4930450" y="52819"/>
                </a:cubicBezTo>
                <a:cubicBezTo>
                  <a:pt x="4962717" y="3912"/>
                  <a:pt x="4989606" y="0"/>
                  <a:pt x="4997428" y="0"/>
                </a:cubicBezTo>
                <a:close/>
              </a:path>
            </a:pathLst>
          </a:custGeom>
          <a:solidFill>
            <a:schemeClr val="bg1">
              <a:alpha val="50000"/>
            </a:schemeClr>
          </a:solidFill>
        </p:spPr>
        <p:txBody>
          <a:bodyPr wrap="square">
            <a:noAutofit/>
          </a:bodyPr>
          <a:lstStyle>
            <a:lvl1pPr algn="ctr">
              <a:defRPr sz="1600" b="0">
                <a:solidFill>
                  <a:schemeClr val="bg1"/>
                </a:solidFill>
              </a:defRPr>
            </a:lvl1pPr>
          </a:lstStyle>
          <a:p>
            <a:r>
              <a:rPr lang="en-GB"/>
              <a:t>Click icon to insert an image and click reset in Home tab to fill the image in the shape</a:t>
            </a:r>
            <a:br>
              <a:rPr lang="en-GB"/>
            </a:br>
            <a:r>
              <a:rPr lang="en-GB"/>
              <a:t>If no image is inserted, this will stay as 50% transparent white shape</a:t>
            </a:r>
          </a:p>
        </p:txBody>
      </p:sp>
      <p:sp>
        <p:nvSpPr>
          <p:cNvPr id="83" name="Text Placeholder 82">
            <a:extLst>
              <a:ext uri="{FF2B5EF4-FFF2-40B4-BE49-F238E27FC236}">
                <a16:creationId xmlns:a16="http://schemas.microsoft.com/office/drawing/2014/main" id="{3ECE1A18-33D8-41AB-85CB-0266D4467476}"/>
              </a:ext>
            </a:extLst>
          </p:cNvPr>
          <p:cNvSpPr>
            <a:spLocks noGrp="1"/>
          </p:cNvSpPr>
          <p:nvPr>
            <p:ph type="body" sz="quarter" idx="11" hasCustomPrompt="1"/>
          </p:nvPr>
        </p:nvSpPr>
        <p:spPr>
          <a:xfrm>
            <a:off x="593768" y="3599135"/>
            <a:ext cx="5552920" cy="984885"/>
          </a:xfrm>
          <a:prstGeom prst="rect">
            <a:avLst/>
          </a:prstGeom>
        </p:spPr>
        <p:txBody>
          <a:bodyPr>
            <a:spAutoFit/>
          </a:bodyPr>
          <a:lstStyle>
            <a:lvl1pPr>
              <a:spcAft>
                <a:spcPts val="1200"/>
              </a:spcAft>
              <a:defRPr b="0">
                <a:solidFill>
                  <a:schemeClr val="bg1"/>
                </a:solidFill>
              </a:defRPr>
            </a:lvl1pPr>
            <a:lvl2pPr>
              <a:defRPr>
                <a:solidFill>
                  <a:schemeClr val="bg1"/>
                </a:solidFill>
              </a:defRPr>
            </a:lvl2pPr>
          </a:lstStyle>
          <a:p>
            <a:pPr lvl="0"/>
            <a:r>
              <a:rPr lang="en-US"/>
              <a:t>Subtitle goes here</a:t>
            </a:r>
          </a:p>
          <a:p>
            <a:pPr lvl="1"/>
            <a:r>
              <a:rPr lang="en-US"/>
              <a:t>Presenter Name</a:t>
            </a:r>
            <a:br>
              <a:rPr lang="en-US"/>
            </a:br>
            <a:endParaRPr lang="en-US"/>
          </a:p>
        </p:txBody>
      </p:sp>
      <p:pic>
        <p:nvPicPr>
          <p:cNvPr id="48" name="Picture 47">
            <a:extLst>
              <a:ext uri="{FF2B5EF4-FFF2-40B4-BE49-F238E27FC236}">
                <a16:creationId xmlns:a16="http://schemas.microsoft.com/office/drawing/2014/main" id="{590ACE62-C053-8643-AE85-0512241F339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64704" y="5796874"/>
            <a:ext cx="780446" cy="843874"/>
          </a:xfrm>
          <a:prstGeom prst="rect">
            <a:avLst/>
          </a:prstGeom>
        </p:spPr>
      </p:pic>
    </p:spTree>
    <p:extLst>
      <p:ext uri="{BB962C8B-B14F-4D97-AF65-F5344CB8AC3E}">
        <p14:creationId xmlns:p14="http://schemas.microsoft.com/office/powerpoint/2010/main" val="2644370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35" presetClass="path" presetSubtype="0" decel="100000" fill="hold" grpId="1" nodeType="withEffect">
                                  <p:stCondLst>
                                    <p:cond delay="0"/>
                                  </p:stCondLst>
                                  <p:childTnLst>
                                    <p:animMotion origin="layout" path="M -2.29167E-6 -4.07407E-6 L -0.03659 -4.07407E-6 " pathEditMode="relative" rAng="0" ptsTypes="AA">
                                      <p:cBhvr>
                                        <p:cTn id="9" dur="1000" spd="-100000" fill="hold"/>
                                        <p:tgtEl>
                                          <p:spTgt spid="2"/>
                                        </p:tgtEl>
                                        <p:attrNameLst>
                                          <p:attrName>ppt_x</p:attrName>
                                          <p:attrName>ppt_y</p:attrName>
                                        </p:attrNameLst>
                                      </p:cBhvr>
                                      <p:rCtr x="-1836"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750"/>
                                        <p:tgtEl>
                                          <p:spTgt spid="37"/>
                                        </p:tgtEl>
                                      </p:cBhvr>
                                    </p:animEffect>
                                  </p:childTnLst>
                                </p:cTn>
                              </p:par>
                              <p:par>
                                <p:cTn id="13" presetID="35" presetClass="path" presetSubtype="0" decel="100000" fill="hold" grpId="1" nodeType="withEffect">
                                  <p:stCondLst>
                                    <p:cond delay="0"/>
                                  </p:stCondLst>
                                  <p:childTnLst>
                                    <p:animMotion origin="layout" path="M -2.08333E-6 1.48148E-6 L 0.02865 1.48148E-6 " pathEditMode="relative" rAng="0" ptsTypes="AA">
                                      <p:cBhvr>
                                        <p:cTn id="14" dur="1000" spd="-100000" fill="hold"/>
                                        <p:tgtEl>
                                          <p:spTgt spid="37"/>
                                        </p:tgtEl>
                                        <p:attrNameLst>
                                          <p:attrName>ppt_x</p:attrName>
                                          <p:attrName>ppt_y</p:attrName>
                                        </p:attrNameLst>
                                      </p:cBhvr>
                                      <p:rCtr x="1432" y="0"/>
                                    </p:animMotion>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83"/>
                                        </p:tgtEl>
                                        <p:attrNameLst>
                                          <p:attrName>style.visibility</p:attrName>
                                        </p:attrNameLst>
                                      </p:cBhvr>
                                      <p:to>
                                        <p:strVal val="visible"/>
                                      </p:to>
                                    </p:set>
                                    <p:animEffect transition="in" filter="fade">
                                      <p:cBhvr>
                                        <p:cTn id="18"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7" grpId="0" animBg="1"/>
      <p:bldP spid="37" grpId="1" animBg="1"/>
      <p:bldP spid="83" grpId="0">
        <p:tmplLst>
          <p:tmpl>
            <p:tnLst>
              <p:par>
                <p:cTn presetID="10" presetClass="entr" presetSubtype="0" fill="hold" nodeType="afterEffect">
                  <p:stCondLst>
                    <p:cond delay="0"/>
                  </p:stCondLst>
                  <p:childTnLst>
                    <p:set>
                      <p:cBhvr>
                        <p:cTn dur="1" fill="hold">
                          <p:stCondLst>
                            <p:cond delay="0"/>
                          </p:stCondLst>
                        </p:cTn>
                        <p:tgtEl>
                          <p:spTgt spid="83"/>
                        </p:tgtEl>
                        <p:attrNameLst>
                          <p:attrName>style.visibility</p:attrName>
                        </p:attrNameLst>
                      </p:cBhvr>
                      <p:to>
                        <p:strVal val="visible"/>
                      </p:to>
                    </p:set>
                    <p:animEffect transition="in" filter="fade">
                      <p:cBhvr>
                        <p:cTn dur="500"/>
                        <p:tgtEl>
                          <p:spTgt spid="83"/>
                        </p:tgtEl>
                      </p:cBhvr>
                    </p:animEffect>
                  </p:childTnLst>
                </p:cTn>
              </p:par>
            </p:tnLst>
          </p:tmpl>
        </p:tmplLst>
      </p:bldP>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3">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646A5C8-9FAD-4A32-B2BD-9D5DD5101B50}"/>
              </a:ext>
            </a:extLst>
          </p:cNvPr>
          <p:cNvSpPr/>
          <p:nvPr userDrawn="1"/>
        </p:nvSpPr>
        <p:spPr>
          <a:xfrm>
            <a:off x="7919999" y="0"/>
            <a:ext cx="265187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latin typeface="Public Sans SemiBold" pitchFamily="2" charset="0"/>
            </a:endParaRPr>
          </a:p>
        </p:txBody>
      </p:sp>
      <p:sp>
        <p:nvSpPr>
          <p:cNvPr id="5" name="Picture Placeholder 4">
            <a:extLst>
              <a:ext uri="{FF2B5EF4-FFF2-40B4-BE49-F238E27FC236}">
                <a16:creationId xmlns:a16="http://schemas.microsoft.com/office/drawing/2014/main" id="{47081598-8EF9-4067-828C-DA3306F39365}"/>
              </a:ext>
            </a:extLst>
          </p:cNvPr>
          <p:cNvSpPr>
            <a:spLocks noGrp="1"/>
          </p:cNvSpPr>
          <p:nvPr>
            <p:ph type="pic" sz="quarter" idx="13"/>
          </p:nvPr>
        </p:nvSpPr>
        <p:spPr>
          <a:xfrm>
            <a:off x="5040000" y="0"/>
            <a:ext cx="2880000" cy="6858000"/>
          </a:xfrm>
        </p:spPr>
        <p:txBody>
          <a:bodyPr/>
          <a:lstStyle/>
          <a:p>
            <a:r>
              <a:rPr lang="en-US"/>
              <a:t>Click icon to add picture</a:t>
            </a:r>
            <a:endParaRPr lang="en-AU"/>
          </a:p>
        </p:txBody>
      </p:sp>
      <p:sp>
        <p:nvSpPr>
          <p:cNvPr id="4" name="Rectangle 3">
            <a:extLst>
              <a:ext uri="{FF2B5EF4-FFF2-40B4-BE49-F238E27FC236}">
                <a16:creationId xmlns:a16="http://schemas.microsoft.com/office/drawing/2014/main" id="{E57A2D9F-61E4-43DD-AEE4-7DB03212C80F}"/>
              </a:ext>
            </a:extLst>
          </p:cNvPr>
          <p:cNvSpPr/>
          <p:nvPr userDrawn="1"/>
        </p:nvSpPr>
        <p:spPr>
          <a:xfrm>
            <a:off x="0" y="0"/>
            <a:ext cx="5040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latin typeface="Public Sans SemiBold" pitchFamily="2" charset="0"/>
            </a:endParaRPr>
          </a:p>
        </p:txBody>
      </p:sp>
      <p:sp>
        <p:nvSpPr>
          <p:cNvPr id="2" name="Title 1"/>
          <p:cNvSpPr>
            <a:spLocks noGrp="1"/>
          </p:cNvSpPr>
          <p:nvPr>
            <p:ph type="ctrTitle" hasCustomPrompt="1"/>
          </p:nvPr>
        </p:nvSpPr>
        <p:spPr>
          <a:xfrm>
            <a:off x="360001" y="1118380"/>
            <a:ext cx="4500000" cy="2679008"/>
          </a:xfrm>
          <a:ln>
            <a:noFill/>
          </a:ln>
        </p:spPr>
        <p:txBody>
          <a:bodyPr anchor="b">
            <a:normAutofit/>
          </a:bodyPr>
          <a:lstStyle>
            <a:lvl1pPr algn="l">
              <a:lnSpc>
                <a:spcPct val="90000"/>
              </a:lnSpc>
              <a:defRPr sz="4800">
                <a:solidFill>
                  <a:schemeClr val="bg1"/>
                </a:solidFill>
              </a:defRPr>
            </a:lvl1pPr>
          </a:lstStyle>
          <a:p>
            <a:r>
              <a:rPr lang="en-US"/>
              <a:t>Presentation title</a:t>
            </a:r>
          </a:p>
        </p:txBody>
      </p:sp>
      <p:sp>
        <p:nvSpPr>
          <p:cNvPr id="11" name="Text Placeholder 10">
            <a:extLst>
              <a:ext uri="{FF2B5EF4-FFF2-40B4-BE49-F238E27FC236}">
                <a16:creationId xmlns:a16="http://schemas.microsoft.com/office/drawing/2014/main" id="{AA33BD13-5953-47AF-A601-951A768FEDA1}"/>
              </a:ext>
            </a:extLst>
          </p:cNvPr>
          <p:cNvSpPr>
            <a:spLocks noGrp="1"/>
          </p:cNvSpPr>
          <p:nvPr>
            <p:ph type="body" sz="quarter" idx="10" hasCustomPrompt="1"/>
          </p:nvPr>
        </p:nvSpPr>
        <p:spPr>
          <a:xfrm>
            <a:off x="360001" y="3960000"/>
            <a:ext cx="4500000" cy="1176813"/>
          </a:xfrm>
        </p:spPr>
        <p:txBody>
          <a:bodyPr anchor="t">
            <a:noAutofit/>
          </a:bodyPr>
          <a:lstStyle>
            <a:lvl1pPr>
              <a:defRPr sz="2000">
                <a:solidFill>
                  <a:schemeClr val="bg1"/>
                </a:solidFill>
                <a:latin typeface="+mj-lt"/>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Subtitle</a:t>
            </a:r>
          </a:p>
        </p:txBody>
      </p:sp>
      <p:sp>
        <p:nvSpPr>
          <p:cNvPr id="15" name="Text Placeholder 14">
            <a:extLst>
              <a:ext uri="{FF2B5EF4-FFF2-40B4-BE49-F238E27FC236}">
                <a16:creationId xmlns:a16="http://schemas.microsoft.com/office/drawing/2014/main" id="{B9280053-307C-4D8A-BF45-7B6743FA55E3}"/>
              </a:ext>
            </a:extLst>
          </p:cNvPr>
          <p:cNvSpPr>
            <a:spLocks noGrp="1"/>
          </p:cNvSpPr>
          <p:nvPr>
            <p:ph type="body" sz="quarter" idx="11" hasCustomPrompt="1"/>
          </p:nvPr>
        </p:nvSpPr>
        <p:spPr>
          <a:xfrm>
            <a:off x="8100000" y="3924000"/>
            <a:ext cx="2338228" cy="1062997"/>
          </a:xfrm>
        </p:spPr>
        <p:txBody>
          <a:bodyPr>
            <a:noAutofit/>
          </a:bodyPr>
          <a:lstStyle>
            <a:lvl1pPr>
              <a:lnSpc>
                <a:spcPct val="100000"/>
              </a:lnSpc>
              <a:spcAft>
                <a:spcPts val="0"/>
              </a:spcAft>
              <a:defRPr sz="1600" b="0">
                <a:solidFill>
                  <a:schemeClr val="bg1"/>
                </a:solidFill>
                <a:latin typeface="Public Sans SemiBold" pitchFamily="2" charset="0"/>
              </a:defRPr>
            </a:lvl1pPr>
            <a:lvl2pPr>
              <a:lnSpc>
                <a:spcPct val="100000"/>
              </a:lnSpc>
              <a:spcAft>
                <a:spcPts val="0"/>
              </a:spcAft>
              <a:defRPr sz="1600">
                <a:solidFill>
                  <a:schemeClr val="bg1"/>
                </a:solidFill>
                <a:latin typeface="+mn-lt"/>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Presenter name</a:t>
            </a:r>
          </a:p>
          <a:p>
            <a:pPr lvl="1"/>
            <a:r>
              <a:rPr lang="en-US"/>
              <a:t>Presenter title</a:t>
            </a:r>
          </a:p>
        </p:txBody>
      </p:sp>
      <p:sp>
        <p:nvSpPr>
          <p:cNvPr id="16" name="Text Placeholder 14">
            <a:extLst>
              <a:ext uri="{FF2B5EF4-FFF2-40B4-BE49-F238E27FC236}">
                <a16:creationId xmlns:a16="http://schemas.microsoft.com/office/drawing/2014/main" id="{0B9A9D47-05D2-409D-A941-8374F9F8E2D4}"/>
              </a:ext>
            </a:extLst>
          </p:cNvPr>
          <p:cNvSpPr>
            <a:spLocks noGrp="1"/>
          </p:cNvSpPr>
          <p:nvPr>
            <p:ph type="body" sz="quarter" idx="12" hasCustomPrompt="1"/>
          </p:nvPr>
        </p:nvSpPr>
        <p:spPr>
          <a:xfrm>
            <a:off x="360000" y="6120001"/>
            <a:ext cx="2700000" cy="280136"/>
          </a:xfrm>
        </p:spPr>
        <p:txBody>
          <a:bodyPr anchor="t">
            <a:noAutofit/>
          </a:bodyPr>
          <a:lstStyle>
            <a:lvl1pPr algn="l">
              <a:defRPr sz="1600" b="0">
                <a:solidFill>
                  <a:schemeClr val="bg1"/>
                </a:solidFill>
                <a:latin typeface="+mn-lt"/>
              </a:defRPr>
            </a:lvl1pPr>
            <a:lvl2pPr>
              <a:defRPr sz="1600">
                <a:solidFill>
                  <a:schemeClr val="bg1"/>
                </a:solidFill>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00 Month YY20</a:t>
            </a:r>
          </a:p>
        </p:txBody>
      </p:sp>
      <p:sp>
        <p:nvSpPr>
          <p:cNvPr id="20" name="Footer Placeholder 4">
            <a:extLst>
              <a:ext uri="{FF2B5EF4-FFF2-40B4-BE49-F238E27FC236}">
                <a16:creationId xmlns:a16="http://schemas.microsoft.com/office/drawing/2014/main" id="{E3775B0C-7FFD-4E7F-AC26-D5F1E787B1CC}"/>
              </a:ext>
            </a:extLst>
          </p:cNvPr>
          <p:cNvSpPr>
            <a:spLocks noGrp="1"/>
          </p:cNvSpPr>
          <p:nvPr>
            <p:ph type="ftr" sz="quarter" idx="3"/>
          </p:nvPr>
        </p:nvSpPr>
        <p:spPr>
          <a:xfrm>
            <a:off x="360000" y="359999"/>
            <a:ext cx="4500000" cy="512197"/>
          </a:xfrm>
          <a:prstGeom prst="rect">
            <a:avLst/>
          </a:prstGeom>
        </p:spPr>
        <p:txBody>
          <a:bodyPr vert="horz" lIns="0" tIns="0" rIns="0" bIns="0" rtlCol="0" anchor="t"/>
          <a:lstStyle>
            <a:lvl1pPr algn="l">
              <a:defRPr sz="1200">
                <a:solidFill>
                  <a:schemeClr val="bg1"/>
                </a:solidFill>
                <a:latin typeface="Public Sans SemiBold" pitchFamily="2" charset="0"/>
              </a:defRPr>
            </a:lvl1pPr>
          </a:lstStyle>
          <a:p>
            <a:r>
              <a:rPr lang="en-US"/>
              <a:t>Descriptor</a:t>
            </a:r>
            <a:endParaRPr lang="en-AU"/>
          </a:p>
        </p:txBody>
      </p:sp>
    </p:spTree>
    <p:extLst>
      <p:ext uri="{BB962C8B-B14F-4D97-AF65-F5344CB8AC3E}">
        <p14:creationId xmlns:p14="http://schemas.microsoft.com/office/powerpoint/2010/main" val="345813236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B3)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D1DA5-55F2-40D3-B419-631F81A7BC28}"/>
              </a:ext>
            </a:extLst>
          </p:cNvPr>
          <p:cNvSpPr>
            <a:spLocks noGrp="1"/>
          </p:cNvSpPr>
          <p:nvPr>
            <p:ph type="title" hasCustomPrompt="1"/>
          </p:nvPr>
        </p:nvSpPr>
        <p:spPr>
          <a:xfrm>
            <a:off x="593768" y="2189852"/>
            <a:ext cx="5552921" cy="1181862"/>
          </a:xfrm>
          <a:prstGeom prst="rect">
            <a:avLst/>
          </a:prstGeom>
        </p:spPr>
        <p:txBody>
          <a:bodyPr anchor="b"/>
          <a:lstStyle>
            <a:lvl1pPr>
              <a:lnSpc>
                <a:spcPct val="80000"/>
              </a:lnSpc>
              <a:defRPr sz="4800">
                <a:solidFill>
                  <a:schemeClr val="accent1"/>
                </a:solidFill>
              </a:defRPr>
            </a:lvl1pPr>
          </a:lstStyle>
          <a:p>
            <a:r>
              <a:rPr lang="en-US"/>
              <a:t>Presentation title</a:t>
            </a:r>
            <a:br>
              <a:rPr lang="en-US"/>
            </a:br>
            <a:r>
              <a:rPr lang="en-US"/>
              <a:t>goes here</a:t>
            </a:r>
            <a:endParaRPr lang="en-GB"/>
          </a:p>
        </p:txBody>
      </p:sp>
      <p:sp>
        <p:nvSpPr>
          <p:cNvPr id="37" name="Picture Placeholder 36">
            <a:extLst>
              <a:ext uri="{FF2B5EF4-FFF2-40B4-BE49-F238E27FC236}">
                <a16:creationId xmlns:a16="http://schemas.microsoft.com/office/drawing/2014/main" id="{FB92D7A7-9D03-4CDA-8900-92AFCEA12729}"/>
              </a:ext>
            </a:extLst>
          </p:cNvPr>
          <p:cNvSpPr>
            <a:spLocks noGrp="1"/>
          </p:cNvSpPr>
          <p:nvPr>
            <p:ph type="pic" sz="quarter" idx="10" hasCustomPrompt="1"/>
          </p:nvPr>
        </p:nvSpPr>
        <p:spPr>
          <a:xfrm>
            <a:off x="7194572" y="1625597"/>
            <a:ext cx="4997428" cy="5232401"/>
          </a:xfrm>
          <a:custGeom>
            <a:avLst/>
            <a:gdLst>
              <a:gd name="connsiteX0" fmla="*/ 1715698 w 4997428"/>
              <a:gd name="connsiteY0" fmla="*/ 3352613 h 5232401"/>
              <a:gd name="connsiteX1" fmla="*/ 2156976 w 4997428"/>
              <a:gd name="connsiteY1" fmla="*/ 4593909 h 5232401"/>
              <a:gd name="connsiteX2" fmla="*/ 2531849 w 4997428"/>
              <a:gd name="connsiteY2" fmla="*/ 5098469 h 5232401"/>
              <a:gd name="connsiteX3" fmla="*/ 2675549 w 4997428"/>
              <a:gd name="connsiteY3" fmla="*/ 5232401 h 5232401"/>
              <a:gd name="connsiteX4" fmla="*/ 1556208 w 4997428"/>
              <a:gd name="connsiteY4" fmla="*/ 5232401 h 5232401"/>
              <a:gd name="connsiteX5" fmla="*/ 1356550 w 4997428"/>
              <a:gd name="connsiteY5" fmla="*/ 5183062 h 5232401"/>
              <a:gd name="connsiteX6" fmla="*/ 33267 w 4997428"/>
              <a:gd name="connsiteY6" fmla="*/ 4501998 h 5232401"/>
              <a:gd name="connsiteX7" fmla="*/ 32778 w 4997428"/>
              <a:gd name="connsiteY7" fmla="*/ 4501509 h 5232401"/>
              <a:gd name="connsiteX8" fmla="*/ 0 w 4997428"/>
              <a:gd name="connsiteY8" fmla="*/ 4392486 h 5232401"/>
              <a:gd name="connsiteX9" fmla="*/ 77786 w 4997428"/>
              <a:gd name="connsiteY9" fmla="*/ 4231641 h 5232401"/>
              <a:gd name="connsiteX10" fmla="*/ 150191 w 4997428"/>
              <a:gd name="connsiteY10" fmla="*/ 4183240 h 5232401"/>
              <a:gd name="connsiteX11" fmla="*/ 150680 w 4997428"/>
              <a:gd name="connsiteY11" fmla="*/ 4182752 h 5232401"/>
              <a:gd name="connsiteX12" fmla="*/ 151170 w 4997428"/>
              <a:gd name="connsiteY12" fmla="*/ 4182263 h 5232401"/>
              <a:gd name="connsiteX13" fmla="*/ 300382 w 4997428"/>
              <a:gd name="connsiteY13" fmla="*/ 4080573 h 5232401"/>
              <a:gd name="connsiteX14" fmla="*/ 353707 w 4997428"/>
              <a:gd name="connsiteY14" fmla="*/ 4045862 h 5232401"/>
              <a:gd name="connsiteX15" fmla="*/ 1076776 w 4997428"/>
              <a:gd name="connsiteY15" fmla="*/ 3635682 h 5232401"/>
              <a:gd name="connsiteX16" fmla="*/ 1715698 w 4997428"/>
              <a:gd name="connsiteY16" fmla="*/ 3352613 h 5232401"/>
              <a:gd name="connsiteX17" fmla="*/ 863321 w 4997428"/>
              <a:gd name="connsiteY17" fmla="*/ 2153521 h 5232401"/>
              <a:gd name="connsiteX18" fmla="*/ 947042 w 4997428"/>
              <a:gd name="connsiteY18" fmla="*/ 2154010 h 5232401"/>
              <a:gd name="connsiteX19" fmla="*/ 1593308 w 4997428"/>
              <a:gd name="connsiteY19" fmla="*/ 2189739 h 5232401"/>
              <a:gd name="connsiteX20" fmla="*/ 1677518 w 4997428"/>
              <a:gd name="connsiteY20" fmla="*/ 3136317 h 5232401"/>
              <a:gd name="connsiteX21" fmla="*/ 974949 w 4997428"/>
              <a:gd name="connsiteY21" fmla="*/ 3444665 h 5232401"/>
              <a:gd name="connsiteX22" fmla="*/ 428560 w 4997428"/>
              <a:gd name="connsiteY22" fmla="*/ 2363980 h 5232401"/>
              <a:gd name="connsiteX23" fmla="*/ 460384 w 4997428"/>
              <a:gd name="connsiteY23" fmla="*/ 2250430 h 5232401"/>
              <a:gd name="connsiteX24" fmla="*/ 616075 w 4997428"/>
              <a:gd name="connsiteY24" fmla="*/ 2157926 h 5232401"/>
              <a:gd name="connsiteX25" fmla="*/ 863321 w 4997428"/>
              <a:gd name="connsiteY25" fmla="*/ 2153521 h 5232401"/>
              <a:gd name="connsiteX26" fmla="*/ 3345492 w 4997428"/>
              <a:gd name="connsiteY26" fmla="*/ 1662983 h 5232401"/>
              <a:gd name="connsiteX27" fmla="*/ 3391977 w 4997428"/>
              <a:gd name="connsiteY27" fmla="*/ 1682541 h 5232401"/>
              <a:gd name="connsiteX28" fmla="*/ 3439930 w 4997428"/>
              <a:gd name="connsiteY28" fmla="*/ 1722147 h 5232401"/>
              <a:gd name="connsiteX29" fmla="*/ 3577428 w 4997428"/>
              <a:gd name="connsiteY29" fmla="*/ 1839987 h 5232401"/>
              <a:gd name="connsiteX30" fmla="*/ 4022218 w 4997428"/>
              <a:gd name="connsiteY30" fmla="*/ 2282497 h 5232401"/>
              <a:gd name="connsiteX31" fmla="*/ 4935285 w 4997428"/>
              <a:gd name="connsiteY31" fmla="*/ 3795833 h 5232401"/>
              <a:gd name="connsiteX32" fmla="*/ 4997428 w 4997428"/>
              <a:gd name="connsiteY32" fmla="*/ 4005598 h 5232401"/>
              <a:gd name="connsiteX33" fmla="*/ 4997428 w 4997428"/>
              <a:gd name="connsiteY33" fmla="*/ 4007994 h 5232401"/>
              <a:gd name="connsiteX34" fmla="*/ 4997428 w 4997428"/>
              <a:gd name="connsiteY34" fmla="*/ 4024767 h 5232401"/>
              <a:gd name="connsiteX35" fmla="*/ 4997428 w 4997428"/>
              <a:gd name="connsiteY35" fmla="*/ 4043037 h 5232401"/>
              <a:gd name="connsiteX36" fmla="*/ 4997428 w 4997428"/>
              <a:gd name="connsiteY36" fmla="*/ 4070293 h 5232401"/>
              <a:gd name="connsiteX37" fmla="*/ 4997428 w 4997428"/>
              <a:gd name="connsiteY37" fmla="*/ 4108331 h 5232401"/>
              <a:gd name="connsiteX38" fmla="*/ 4997428 w 4997428"/>
              <a:gd name="connsiteY38" fmla="*/ 4158949 h 5232401"/>
              <a:gd name="connsiteX39" fmla="*/ 4997428 w 4997428"/>
              <a:gd name="connsiteY39" fmla="*/ 4223943 h 5232401"/>
              <a:gd name="connsiteX40" fmla="*/ 4997428 w 4997428"/>
              <a:gd name="connsiteY40" fmla="*/ 4305111 h 5232401"/>
              <a:gd name="connsiteX41" fmla="*/ 4997428 w 4997428"/>
              <a:gd name="connsiteY41" fmla="*/ 4404250 h 5232401"/>
              <a:gd name="connsiteX42" fmla="*/ 4997428 w 4997428"/>
              <a:gd name="connsiteY42" fmla="*/ 4523156 h 5232401"/>
              <a:gd name="connsiteX43" fmla="*/ 4997428 w 4997428"/>
              <a:gd name="connsiteY43" fmla="*/ 4663628 h 5232401"/>
              <a:gd name="connsiteX44" fmla="*/ 4997428 w 4997428"/>
              <a:gd name="connsiteY44" fmla="*/ 4827461 h 5232401"/>
              <a:gd name="connsiteX45" fmla="*/ 4997428 w 4997428"/>
              <a:gd name="connsiteY45" fmla="*/ 5016454 h 5232401"/>
              <a:gd name="connsiteX46" fmla="*/ 4997428 w 4997428"/>
              <a:gd name="connsiteY46" fmla="*/ 5232401 h 5232401"/>
              <a:gd name="connsiteX47" fmla="*/ 3778537 w 4997428"/>
              <a:gd name="connsiteY47" fmla="*/ 5232401 h 5232401"/>
              <a:gd name="connsiteX48" fmla="*/ 3635107 w 4997428"/>
              <a:gd name="connsiteY48" fmla="*/ 5096624 h 5232401"/>
              <a:gd name="connsiteX49" fmla="*/ 3309772 w 4997428"/>
              <a:gd name="connsiteY49" fmla="*/ 4529764 h 5232401"/>
              <a:gd name="connsiteX50" fmla="*/ 3134596 w 4997428"/>
              <a:gd name="connsiteY50" fmla="*/ 3215925 h 5232401"/>
              <a:gd name="connsiteX51" fmla="*/ 3263287 w 4997428"/>
              <a:gd name="connsiteY51" fmla="*/ 1857590 h 5232401"/>
              <a:gd name="connsiteX52" fmla="*/ 3286774 w 4997428"/>
              <a:gd name="connsiteY52" fmla="*/ 1742195 h 5232401"/>
              <a:gd name="connsiteX53" fmla="*/ 3345492 w 4997428"/>
              <a:gd name="connsiteY53" fmla="*/ 1662983 h 5232401"/>
              <a:gd name="connsiteX54" fmla="*/ 1985716 w 4997428"/>
              <a:gd name="connsiteY54" fmla="*/ 829675 h 5232401"/>
              <a:gd name="connsiteX55" fmla="*/ 2042469 w 4997428"/>
              <a:gd name="connsiteY55" fmla="*/ 842388 h 5232401"/>
              <a:gd name="connsiteX56" fmla="*/ 2043448 w 4997428"/>
              <a:gd name="connsiteY56" fmla="*/ 842877 h 5232401"/>
              <a:gd name="connsiteX57" fmla="*/ 2043937 w 4997428"/>
              <a:gd name="connsiteY57" fmla="*/ 842877 h 5232401"/>
              <a:gd name="connsiteX58" fmla="*/ 2127599 w 4997428"/>
              <a:gd name="connsiteY58" fmla="*/ 878572 h 5232401"/>
              <a:gd name="connsiteX59" fmla="*/ 2337487 w 4997428"/>
              <a:gd name="connsiteY59" fmla="*/ 973433 h 5232401"/>
              <a:gd name="connsiteX60" fmla="*/ 2367820 w 4997428"/>
              <a:gd name="connsiteY60" fmla="*/ 987614 h 5232401"/>
              <a:gd name="connsiteX61" fmla="*/ 3151109 w 4997428"/>
              <a:gd name="connsiteY61" fmla="*/ 1421823 h 5232401"/>
              <a:gd name="connsiteX62" fmla="*/ 3235749 w 4997428"/>
              <a:gd name="connsiteY62" fmla="*/ 1474632 h 5232401"/>
              <a:gd name="connsiteX63" fmla="*/ 3077722 w 4997428"/>
              <a:gd name="connsiteY63" fmla="*/ 1695160 h 5232401"/>
              <a:gd name="connsiteX64" fmla="*/ 3075765 w 4997428"/>
              <a:gd name="connsiteY64" fmla="*/ 1705428 h 5232401"/>
              <a:gd name="connsiteX65" fmla="*/ 2920183 w 4997428"/>
              <a:gd name="connsiteY65" fmla="*/ 3215871 h 5232401"/>
              <a:gd name="connsiteX66" fmla="*/ 3104141 w 4997428"/>
              <a:gd name="connsiteY66" fmla="*/ 4592334 h 5232401"/>
              <a:gd name="connsiteX67" fmla="*/ 3365309 w 4997428"/>
              <a:gd name="connsiteY67" fmla="*/ 5105368 h 5232401"/>
              <a:gd name="connsiteX68" fmla="*/ 3470099 w 4997428"/>
              <a:gd name="connsiteY68" fmla="*/ 5232401 h 5232401"/>
              <a:gd name="connsiteX69" fmla="*/ 3038090 w 4997428"/>
              <a:gd name="connsiteY69" fmla="*/ 5232401 h 5232401"/>
              <a:gd name="connsiteX70" fmla="*/ 2939508 w 4997428"/>
              <a:gd name="connsiteY70" fmla="*/ 5168333 h 5232401"/>
              <a:gd name="connsiteX71" fmla="*/ 2341890 w 4997428"/>
              <a:gd name="connsiteY71" fmla="*/ 4487205 h 5232401"/>
              <a:gd name="connsiteX72" fmla="*/ 1804694 w 4997428"/>
              <a:gd name="connsiteY72" fmla="*/ 1983166 h 5232401"/>
              <a:gd name="connsiteX73" fmla="*/ 1838941 w 4997428"/>
              <a:gd name="connsiteY73" fmla="*/ 1229656 h 5232401"/>
              <a:gd name="connsiteX74" fmla="*/ 1870743 w 4997428"/>
              <a:gd name="connsiteY74" fmla="*/ 939205 h 5232401"/>
              <a:gd name="connsiteX75" fmla="*/ 1985716 w 4997428"/>
              <a:gd name="connsiteY75" fmla="*/ 829675 h 5232401"/>
              <a:gd name="connsiteX76" fmla="*/ 3454840 w 4997428"/>
              <a:gd name="connsiteY76" fmla="*/ 225284 h 5232401"/>
              <a:gd name="connsiteX77" fmla="*/ 3475877 w 4997428"/>
              <a:gd name="connsiteY77" fmla="*/ 226752 h 5232401"/>
              <a:gd name="connsiteX78" fmla="*/ 3476366 w 4997428"/>
              <a:gd name="connsiteY78" fmla="*/ 227241 h 5232401"/>
              <a:gd name="connsiteX79" fmla="*/ 3477345 w 4997428"/>
              <a:gd name="connsiteY79" fmla="*/ 227241 h 5232401"/>
              <a:gd name="connsiteX80" fmla="*/ 3527736 w 4997428"/>
              <a:gd name="connsiteY80" fmla="*/ 247791 h 5232401"/>
              <a:gd name="connsiteX81" fmla="*/ 3528226 w 4997428"/>
              <a:gd name="connsiteY81" fmla="*/ 248280 h 5232401"/>
              <a:gd name="connsiteX82" fmla="*/ 3529204 w 4997428"/>
              <a:gd name="connsiteY82" fmla="*/ 248769 h 5232401"/>
              <a:gd name="connsiteX83" fmla="*/ 3826172 w 4997428"/>
              <a:gd name="connsiteY83" fmla="*/ 449371 h 5232401"/>
              <a:gd name="connsiteX84" fmla="*/ 4276762 w 4997428"/>
              <a:gd name="connsiteY84" fmla="*/ 798712 h 5232401"/>
              <a:gd name="connsiteX85" fmla="*/ 3902494 w 4997428"/>
              <a:gd name="connsiteY85" fmla="*/ 1684785 h 5232401"/>
              <a:gd name="connsiteX86" fmla="*/ 3130963 w 4997428"/>
              <a:gd name="connsiteY86" fmla="*/ 1155881 h 5232401"/>
              <a:gd name="connsiteX87" fmla="*/ 3342314 w 4997428"/>
              <a:gd name="connsiteY87" fmla="*/ 323139 h 5232401"/>
              <a:gd name="connsiteX88" fmla="*/ 3345250 w 4997428"/>
              <a:gd name="connsiteY88" fmla="*/ 314332 h 5232401"/>
              <a:gd name="connsiteX89" fmla="*/ 3454840 w 4997428"/>
              <a:gd name="connsiteY89" fmla="*/ 225284 h 5232401"/>
              <a:gd name="connsiteX90" fmla="*/ 4997428 w 4997428"/>
              <a:gd name="connsiteY90" fmla="*/ 0 h 5232401"/>
              <a:gd name="connsiteX91" fmla="*/ 4996450 w 4997428"/>
              <a:gd name="connsiteY91" fmla="*/ 3311432 h 5232401"/>
              <a:gd name="connsiteX92" fmla="*/ 4030887 w 4997428"/>
              <a:gd name="connsiteY92" fmla="*/ 1977273 h 5232401"/>
              <a:gd name="connsiteX93" fmla="*/ 4879116 w 4997428"/>
              <a:gd name="connsiteY93" fmla="*/ 134003 h 5232401"/>
              <a:gd name="connsiteX94" fmla="*/ 4930450 w 4997428"/>
              <a:gd name="connsiteY94" fmla="*/ 52819 h 5232401"/>
              <a:gd name="connsiteX95" fmla="*/ 4997428 w 4997428"/>
              <a:gd name="connsiteY95" fmla="*/ 0 h 5232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4997428" h="5232401">
                <a:moveTo>
                  <a:pt x="1715698" y="3352613"/>
                </a:moveTo>
                <a:cubicBezTo>
                  <a:pt x="1810607" y="3830261"/>
                  <a:pt x="1959330" y="4247774"/>
                  <a:pt x="2156976" y="4593909"/>
                </a:cubicBezTo>
                <a:cubicBezTo>
                  <a:pt x="2267417" y="4787877"/>
                  <a:pt x="2392719" y="4955995"/>
                  <a:pt x="2531849" y="5098469"/>
                </a:cubicBezTo>
                <a:lnTo>
                  <a:pt x="2675549" y="5232401"/>
                </a:lnTo>
                <a:lnTo>
                  <a:pt x="1556208" y="5232401"/>
                </a:lnTo>
                <a:lnTo>
                  <a:pt x="1356550" y="5183062"/>
                </a:lnTo>
                <a:cubicBezTo>
                  <a:pt x="400986" y="4928164"/>
                  <a:pt x="78673" y="4559748"/>
                  <a:pt x="33267" y="4501998"/>
                </a:cubicBezTo>
                <a:cubicBezTo>
                  <a:pt x="33267" y="4501998"/>
                  <a:pt x="33267" y="4501998"/>
                  <a:pt x="32778" y="4501509"/>
                </a:cubicBezTo>
                <a:cubicBezTo>
                  <a:pt x="10763" y="4468264"/>
                  <a:pt x="0" y="4431597"/>
                  <a:pt x="0" y="4392486"/>
                </a:cubicBezTo>
                <a:cubicBezTo>
                  <a:pt x="0" y="4328930"/>
                  <a:pt x="29843" y="4267330"/>
                  <a:pt x="77786" y="4231641"/>
                </a:cubicBezTo>
                <a:cubicBezTo>
                  <a:pt x="77786" y="4231641"/>
                  <a:pt x="103715" y="4214529"/>
                  <a:pt x="150191" y="4183240"/>
                </a:cubicBezTo>
                <a:cubicBezTo>
                  <a:pt x="150191" y="4183240"/>
                  <a:pt x="150191" y="4183240"/>
                  <a:pt x="150680" y="4182752"/>
                </a:cubicBezTo>
                <a:cubicBezTo>
                  <a:pt x="150680" y="4182752"/>
                  <a:pt x="150680" y="4182752"/>
                  <a:pt x="151170" y="4182263"/>
                </a:cubicBezTo>
                <a:cubicBezTo>
                  <a:pt x="186393" y="4155862"/>
                  <a:pt x="236783" y="4122618"/>
                  <a:pt x="300382" y="4080573"/>
                </a:cubicBezTo>
                <a:cubicBezTo>
                  <a:pt x="317505" y="4069818"/>
                  <a:pt x="335117" y="4058084"/>
                  <a:pt x="353707" y="4045862"/>
                </a:cubicBezTo>
                <a:cubicBezTo>
                  <a:pt x="511725" y="3944661"/>
                  <a:pt x="765631" y="3791149"/>
                  <a:pt x="1076776" y="3635682"/>
                </a:cubicBezTo>
                <a:cubicBezTo>
                  <a:pt x="1292033" y="3527148"/>
                  <a:pt x="1506801" y="3431814"/>
                  <a:pt x="1715698" y="3352613"/>
                </a:cubicBezTo>
                <a:close/>
                <a:moveTo>
                  <a:pt x="863321" y="2153521"/>
                </a:moveTo>
                <a:cubicBezTo>
                  <a:pt x="889759" y="2153521"/>
                  <a:pt x="917666" y="2153521"/>
                  <a:pt x="947042" y="2154010"/>
                </a:cubicBezTo>
                <a:cubicBezTo>
                  <a:pt x="1086087" y="2155479"/>
                  <a:pt x="1309832" y="2163310"/>
                  <a:pt x="1593308" y="2189739"/>
                </a:cubicBezTo>
                <a:cubicBezTo>
                  <a:pt x="1601141" y="2514728"/>
                  <a:pt x="1629538" y="2832864"/>
                  <a:pt x="1677518" y="3136317"/>
                </a:cubicBezTo>
                <a:cubicBezTo>
                  <a:pt x="1448877" y="3222948"/>
                  <a:pt x="1212892" y="3326710"/>
                  <a:pt x="974949" y="3444665"/>
                </a:cubicBezTo>
                <a:cubicBezTo>
                  <a:pt x="510323" y="2858805"/>
                  <a:pt x="439332" y="2469699"/>
                  <a:pt x="428560" y="2363980"/>
                </a:cubicBezTo>
                <a:cubicBezTo>
                  <a:pt x="425133" y="2327762"/>
                  <a:pt x="445207" y="2272455"/>
                  <a:pt x="460384" y="2250430"/>
                </a:cubicBezTo>
                <a:cubicBezTo>
                  <a:pt x="498083" y="2195123"/>
                  <a:pt x="554386" y="2161841"/>
                  <a:pt x="616075" y="2157926"/>
                </a:cubicBezTo>
                <a:cubicBezTo>
                  <a:pt x="616565" y="2157926"/>
                  <a:pt x="708609" y="2153521"/>
                  <a:pt x="863321" y="2153521"/>
                </a:cubicBezTo>
                <a:close/>
                <a:moveTo>
                  <a:pt x="3345492" y="1662983"/>
                </a:moveTo>
                <a:cubicBezTo>
                  <a:pt x="3359682" y="1662983"/>
                  <a:pt x="3374851" y="1669339"/>
                  <a:pt x="3391977" y="1682541"/>
                </a:cubicBezTo>
                <a:cubicBezTo>
                  <a:pt x="3392466" y="1683030"/>
                  <a:pt x="3409103" y="1695254"/>
                  <a:pt x="3439930" y="1722147"/>
                </a:cubicBezTo>
                <a:cubicBezTo>
                  <a:pt x="3471246" y="1747084"/>
                  <a:pt x="3515774" y="1785712"/>
                  <a:pt x="3577428" y="1839987"/>
                </a:cubicBezTo>
                <a:cubicBezTo>
                  <a:pt x="3659634" y="1913331"/>
                  <a:pt x="3826980" y="2067843"/>
                  <a:pt x="4022218" y="2282497"/>
                </a:cubicBezTo>
                <a:cubicBezTo>
                  <a:pt x="4330978" y="2626237"/>
                  <a:pt x="4740536" y="3168006"/>
                  <a:pt x="4935285" y="3795833"/>
                </a:cubicBezTo>
                <a:cubicBezTo>
                  <a:pt x="4960240" y="3876512"/>
                  <a:pt x="4978345" y="3929320"/>
                  <a:pt x="4997428" y="4005598"/>
                </a:cubicBezTo>
                <a:lnTo>
                  <a:pt x="4997428" y="4007994"/>
                </a:lnTo>
                <a:lnTo>
                  <a:pt x="4997428" y="4024767"/>
                </a:lnTo>
                <a:lnTo>
                  <a:pt x="4997428" y="4043037"/>
                </a:lnTo>
                <a:lnTo>
                  <a:pt x="4997428" y="4070293"/>
                </a:lnTo>
                <a:lnTo>
                  <a:pt x="4997428" y="4108331"/>
                </a:lnTo>
                <a:lnTo>
                  <a:pt x="4997428" y="4158949"/>
                </a:lnTo>
                <a:lnTo>
                  <a:pt x="4997428" y="4223943"/>
                </a:lnTo>
                <a:lnTo>
                  <a:pt x="4997428" y="4305111"/>
                </a:lnTo>
                <a:lnTo>
                  <a:pt x="4997428" y="4404250"/>
                </a:lnTo>
                <a:lnTo>
                  <a:pt x="4997428" y="4523156"/>
                </a:lnTo>
                <a:lnTo>
                  <a:pt x="4997428" y="4663628"/>
                </a:lnTo>
                <a:lnTo>
                  <a:pt x="4997428" y="4827461"/>
                </a:lnTo>
                <a:lnTo>
                  <a:pt x="4997428" y="5016454"/>
                </a:lnTo>
                <a:lnTo>
                  <a:pt x="4997428" y="5232401"/>
                </a:lnTo>
                <a:lnTo>
                  <a:pt x="3778537" y="5232401"/>
                </a:lnTo>
                <a:lnTo>
                  <a:pt x="3635107" y="5096624"/>
                </a:lnTo>
                <a:cubicBezTo>
                  <a:pt x="3497761" y="4947827"/>
                  <a:pt x="3381335" y="4759698"/>
                  <a:pt x="3309772" y="4529764"/>
                </a:cubicBezTo>
                <a:cubicBezTo>
                  <a:pt x="3193803" y="4155220"/>
                  <a:pt x="3134596" y="3713199"/>
                  <a:pt x="3134596" y="3215925"/>
                </a:cubicBezTo>
                <a:cubicBezTo>
                  <a:pt x="3134596" y="2598366"/>
                  <a:pt x="3224630" y="2060509"/>
                  <a:pt x="3263287" y="1857590"/>
                </a:cubicBezTo>
                <a:cubicBezTo>
                  <a:pt x="3277966" y="1783267"/>
                  <a:pt x="3286774" y="1742195"/>
                  <a:pt x="3286774" y="1742195"/>
                </a:cubicBezTo>
                <a:cubicBezTo>
                  <a:pt x="3296071" y="1706989"/>
                  <a:pt x="3313686" y="1662983"/>
                  <a:pt x="3345492" y="1662983"/>
                </a:cubicBezTo>
                <a:close/>
                <a:moveTo>
                  <a:pt x="1985716" y="829675"/>
                </a:moveTo>
                <a:cubicBezTo>
                  <a:pt x="1997948" y="829675"/>
                  <a:pt x="2017518" y="832120"/>
                  <a:pt x="2042469" y="842388"/>
                </a:cubicBezTo>
                <a:cubicBezTo>
                  <a:pt x="2042469" y="842388"/>
                  <a:pt x="2042469" y="842388"/>
                  <a:pt x="2043448" y="842877"/>
                </a:cubicBezTo>
                <a:cubicBezTo>
                  <a:pt x="2043448" y="842877"/>
                  <a:pt x="2043448" y="842877"/>
                  <a:pt x="2043937" y="842877"/>
                </a:cubicBezTo>
                <a:cubicBezTo>
                  <a:pt x="2044426" y="842877"/>
                  <a:pt x="2073781" y="853635"/>
                  <a:pt x="2127599" y="878572"/>
                </a:cubicBezTo>
                <a:cubicBezTo>
                  <a:pt x="2179949" y="899598"/>
                  <a:pt x="2249422" y="932360"/>
                  <a:pt x="2337487" y="973433"/>
                </a:cubicBezTo>
                <a:cubicBezTo>
                  <a:pt x="2337487" y="973433"/>
                  <a:pt x="2337487" y="973433"/>
                  <a:pt x="2367820" y="987614"/>
                </a:cubicBezTo>
                <a:cubicBezTo>
                  <a:pt x="2638376" y="1118659"/>
                  <a:pt x="2902081" y="1264862"/>
                  <a:pt x="3151109" y="1421823"/>
                </a:cubicBezTo>
                <a:cubicBezTo>
                  <a:pt x="3179486" y="1437959"/>
                  <a:pt x="3207862" y="1456051"/>
                  <a:pt x="3235749" y="1474632"/>
                </a:cubicBezTo>
                <a:cubicBezTo>
                  <a:pt x="3158937" y="1513261"/>
                  <a:pt x="3099738" y="1594431"/>
                  <a:pt x="3077722" y="1695160"/>
                </a:cubicBezTo>
                <a:cubicBezTo>
                  <a:pt x="3077232" y="1698094"/>
                  <a:pt x="3076743" y="1701028"/>
                  <a:pt x="3075765" y="1705428"/>
                </a:cubicBezTo>
                <a:cubicBezTo>
                  <a:pt x="3039560" y="1877547"/>
                  <a:pt x="2920183" y="2495122"/>
                  <a:pt x="2920183" y="3215871"/>
                </a:cubicBezTo>
                <a:cubicBezTo>
                  <a:pt x="2920183" y="3734673"/>
                  <a:pt x="2982318" y="4197732"/>
                  <a:pt x="3104141" y="4592334"/>
                </a:cubicBezTo>
                <a:cubicBezTo>
                  <a:pt x="3169456" y="4799171"/>
                  <a:pt x="3262842" y="4968050"/>
                  <a:pt x="3365309" y="5105368"/>
                </a:cubicBezTo>
                <a:lnTo>
                  <a:pt x="3470099" y="5232401"/>
                </a:lnTo>
                <a:lnTo>
                  <a:pt x="3038090" y="5232401"/>
                </a:lnTo>
                <a:lnTo>
                  <a:pt x="2939508" y="5168333"/>
                </a:lnTo>
                <a:cubicBezTo>
                  <a:pt x="2712833" y="5008865"/>
                  <a:pt x="2510131" y="4779856"/>
                  <a:pt x="2341890" y="4487205"/>
                </a:cubicBezTo>
                <a:cubicBezTo>
                  <a:pt x="1897651" y="3710224"/>
                  <a:pt x="1804694" y="2696580"/>
                  <a:pt x="1804694" y="1983166"/>
                </a:cubicBezTo>
                <a:cubicBezTo>
                  <a:pt x="1804694" y="1730366"/>
                  <a:pt x="1815947" y="1477077"/>
                  <a:pt x="1838941" y="1229656"/>
                </a:cubicBezTo>
                <a:cubicBezTo>
                  <a:pt x="1855576" y="1048246"/>
                  <a:pt x="1870743" y="940183"/>
                  <a:pt x="1870743" y="939205"/>
                </a:cubicBezTo>
                <a:cubicBezTo>
                  <a:pt x="1884442" y="867815"/>
                  <a:pt x="1922114" y="831631"/>
                  <a:pt x="1985716" y="829675"/>
                </a:cubicBezTo>
                <a:close/>
                <a:moveTo>
                  <a:pt x="3454840" y="225284"/>
                </a:moveTo>
                <a:cubicBezTo>
                  <a:pt x="3461689" y="225284"/>
                  <a:pt x="3468538" y="225773"/>
                  <a:pt x="3475877" y="226752"/>
                </a:cubicBezTo>
                <a:cubicBezTo>
                  <a:pt x="3475877" y="226752"/>
                  <a:pt x="3475877" y="226752"/>
                  <a:pt x="3476366" y="227241"/>
                </a:cubicBezTo>
                <a:cubicBezTo>
                  <a:pt x="3476366" y="227241"/>
                  <a:pt x="3476366" y="227241"/>
                  <a:pt x="3477345" y="227241"/>
                </a:cubicBezTo>
                <a:cubicBezTo>
                  <a:pt x="3493490" y="228709"/>
                  <a:pt x="3510613" y="235559"/>
                  <a:pt x="3527736" y="247791"/>
                </a:cubicBezTo>
                <a:cubicBezTo>
                  <a:pt x="3527736" y="247791"/>
                  <a:pt x="3527736" y="247791"/>
                  <a:pt x="3528226" y="248280"/>
                </a:cubicBezTo>
                <a:cubicBezTo>
                  <a:pt x="3528226" y="248280"/>
                  <a:pt x="3528226" y="248280"/>
                  <a:pt x="3529204" y="248769"/>
                </a:cubicBezTo>
                <a:cubicBezTo>
                  <a:pt x="3530182" y="249259"/>
                  <a:pt x="3646621" y="320692"/>
                  <a:pt x="3826172" y="449371"/>
                </a:cubicBezTo>
                <a:cubicBezTo>
                  <a:pt x="3925488" y="520805"/>
                  <a:pt x="4083512" y="638719"/>
                  <a:pt x="4276762" y="798712"/>
                </a:cubicBezTo>
                <a:cubicBezTo>
                  <a:pt x="4136350" y="1090318"/>
                  <a:pt x="4010616" y="1388285"/>
                  <a:pt x="3902494" y="1684785"/>
                </a:cubicBezTo>
                <a:cubicBezTo>
                  <a:pt x="3671573" y="1502775"/>
                  <a:pt x="3418636" y="1329573"/>
                  <a:pt x="3130963" y="1155881"/>
                </a:cubicBezTo>
                <a:cubicBezTo>
                  <a:pt x="3212666" y="743913"/>
                  <a:pt x="3305622" y="437139"/>
                  <a:pt x="3342314" y="323139"/>
                </a:cubicBezTo>
                <a:cubicBezTo>
                  <a:pt x="3343782" y="319224"/>
                  <a:pt x="3344271" y="316778"/>
                  <a:pt x="3345250" y="314332"/>
                </a:cubicBezTo>
                <a:cubicBezTo>
                  <a:pt x="3367755" y="255130"/>
                  <a:pt x="3404448" y="225284"/>
                  <a:pt x="3454840" y="225284"/>
                </a:cubicBezTo>
                <a:close/>
                <a:moveTo>
                  <a:pt x="4997428" y="0"/>
                </a:moveTo>
                <a:cubicBezTo>
                  <a:pt x="4997428" y="0"/>
                  <a:pt x="4997428" y="0"/>
                  <a:pt x="4996450" y="3311432"/>
                </a:cubicBezTo>
                <a:cubicBezTo>
                  <a:pt x="4786715" y="2861007"/>
                  <a:pt x="4449868" y="2413516"/>
                  <a:pt x="4030887" y="1977273"/>
                </a:cubicBezTo>
                <a:cubicBezTo>
                  <a:pt x="4316889" y="1108212"/>
                  <a:pt x="4718759" y="399563"/>
                  <a:pt x="4879116" y="134003"/>
                </a:cubicBezTo>
                <a:cubicBezTo>
                  <a:pt x="4912850" y="80695"/>
                  <a:pt x="4930450" y="52819"/>
                  <a:pt x="4930450" y="52819"/>
                </a:cubicBezTo>
                <a:cubicBezTo>
                  <a:pt x="4962717" y="3912"/>
                  <a:pt x="4989606" y="0"/>
                  <a:pt x="4997428" y="0"/>
                </a:cubicBezTo>
                <a:close/>
              </a:path>
            </a:pathLst>
          </a:custGeom>
          <a:solidFill>
            <a:schemeClr val="tx1">
              <a:alpha val="20000"/>
            </a:schemeClr>
          </a:solidFill>
        </p:spPr>
        <p:txBody>
          <a:bodyPr wrap="square">
            <a:noAutofit/>
          </a:bodyPr>
          <a:lstStyle>
            <a:lvl1pPr algn="ctr">
              <a:defRPr sz="1600" b="0">
                <a:solidFill>
                  <a:schemeClr val="tx2"/>
                </a:solidFill>
              </a:defRPr>
            </a:lvl1pPr>
          </a:lstStyle>
          <a:p>
            <a:r>
              <a:rPr lang="en-GB"/>
              <a:t>Click icon to insert an image and click reset in Home tab to fill the image in the shape</a:t>
            </a:r>
            <a:br>
              <a:rPr lang="en-GB"/>
            </a:br>
            <a:r>
              <a:rPr lang="en-GB"/>
              <a:t>If no image is inserted, this will stay as grey shape</a:t>
            </a:r>
          </a:p>
        </p:txBody>
      </p:sp>
      <p:sp>
        <p:nvSpPr>
          <p:cNvPr id="83" name="Text Placeholder 82">
            <a:extLst>
              <a:ext uri="{FF2B5EF4-FFF2-40B4-BE49-F238E27FC236}">
                <a16:creationId xmlns:a16="http://schemas.microsoft.com/office/drawing/2014/main" id="{3ECE1A18-33D8-41AB-85CB-0266D4467476}"/>
              </a:ext>
            </a:extLst>
          </p:cNvPr>
          <p:cNvSpPr>
            <a:spLocks noGrp="1"/>
          </p:cNvSpPr>
          <p:nvPr>
            <p:ph type="body" sz="quarter" idx="11" hasCustomPrompt="1"/>
          </p:nvPr>
        </p:nvSpPr>
        <p:spPr>
          <a:xfrm>
            <a:off x="593768" y="3599135"/>
            <a:ext cx="5552920" cy="874085"/>
          </a:xfrm>
          <a:prstGeom prst="rect">
            <a:avLst/>
          </a:prstGeom>
        </p:spPr>
        <p:txBody>
          <a:bodyPr>
            <a:spAutoFit/>
          </a:bodyPr>
          <a:lstStyle>
            <a:lvl1pPr>
              <a:spcAft>
                <a:spcPts val="1200"/>
              </a:spcAft>
              <a:defRPr b="0">
                <a:solidFill>
                  <a:schemeClr val="accent1"/>
                </a:solidFill>
              </a:defRPr>
            </a:lvl1pPr>
            <a:lvl2pPr>
              <a:defRPr>
                <a:solidFill>
                  <a:schemeClr val="accent1"/>
                </a:solidFill>
              </a:defRPr>
            </a:lvl2pPr>
          </a:lstStyle>
          <a:p>
            <a:pPr lvl="0"/>
            <a:r>
              <a:rPr lang="en-US"/>
              <a:t>Subtitle goes here</a:t>
            </a:r>
          </a:p>
          <a:p>
            <a:pPr lvl="1"/>
            <a:r>
              <a:rPr lang="en-US"/>
              <a:t>Presenter Name</a:t>
            </a:r>
            <a:br>
              <a:rPr lang="en-US"/>
            </a:br>
            <a:endParaRPr lang="en-US"/>
          </a:p>
        </p:txBody>
      </p:sp>
    </p:spTree>
    <p:extLst>
      <p:ext uri="{BB962C8B-B14F-4D97-AF65-F5344CB8AC3E}">
        <p14:creationId xmlns:p14="http://schemas.microsoft.com/office/powerpoint/2010/main" val="4215820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35" presetClass="path" presetSubtype="0" decel="100000" fill="hold" grpId="1" nodeType="withEffect">
                                  <p:stCondLst>
                                    <p:cond delay="0"/>
                                  </p:stCondLst>
                                  <p:childTnLst>
                                    <p:animMotion origin="layout" path="M -2.29167E-6 -4.07407E-6 L -0.03659 -4.07407E-6 " pathEditMode="relative" rAng="0" ptsTypes="AA">
                                      <p:cBhvr>
                                        <p:cTn id="9" dur="1000" spd="-100000" fill="hold"/>
                                        <p:tgtEl>
                                          <p:spTgt spid="2"/>
                                        </p:tgtEl>
                                        <p:attrNameLst>
                                          <p:attrName>ppt_x</p:attrName>
                                          <p:attrName>ppt_y</p:attrName>
                                        </p:attrNameLst>
                                      </p:cBhvr>
                                      <p:rCtr x="-1836"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750"/>
                                        <p:tgtEl>
                                          <p:spTgt spid="37"/>
                                        </p:tgtEl>
                                      </p:cBhvr>
                                    </p:animEffect>
                                  </p:childTnLst>
                                </p:cTn>
                              </p:par>
                              <p:par>
                                <p:cTn id="13" presetID="35" presetClass="path" presetSubtype="0" decel="100000" fill="hold" grpId="1" nodeType="withEffect">
                                  <p:stCondLst>
                                    <p:cond delay="0"/>
                                  </p:stCondLst>
                                  <p:childTnLst>
                                    <p:animMotion origin="layout" path="M -2.08333E-6 1.48148E-6 L 0.02865 1.48148E-6 " pathEditMode="relative" rAng="0" ptsTypes="AA">
                                      <p:cBhvr>
                                        <p:cTn id="14" dur="1000" spd="-100000" fill="hold"/>
                                        <p:tgtEl>
                                          <p:spTgt spid="37"/>
                                        </p:tgtEl>
                                        <p:attrNameLst>
                                          <p:attrName>ppt_x</p:attrName>
                                          <p:attrName>ppt_y</p:attrName>
                                        </p:attrNameLst>
                                      </p:cBhvr>
                                      <p:rCtr x="1432" y="0"/>
                                    </p:animMotion>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83"/>
                                        </p:tgtEl>
                                        <p:attrNameLst>
                                          <p:attrName>style.visibility</p:attrName>
                                        </p:attrNameLst>
                                      </p:cBhvr>
                                      <p:to>
                                        <p:strVal val="visible"/>
                                      </p:to>
                                    </p:set>
                                    <p:animEffect transition="in" filter="fade">
                                      <p:cBhvr>
                                        <p:cTn id="18"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7" grpId="0" animBg="1"/>
      <p:bldP spid="37" grpId="1" animBg="1"/>
      <p:bldP spid="83" grpId="0">
        <p:tmplLst>
          <p:tmpl>
            <p:tnLst>
              <p:par>
                <p:cTn presetID="10" presetClass="entr" presetSubtype="0" fill="hold" nodeType="afterEffect">
                  <p:stCondLst>
                    <p:cond delay="0"/>
                  </p:stCondLst>
                  <p:childTnLst>
                    <p:set>
                      <p:cBhvr>
                        <p:cTn dur="1" fill="hold">
                          <p:stCondLst>
                            <p:cond delay="0"/>
                          </p:stCondLst>
                        </p:cTn>
                        <p:tgtEl>
                          <p:spTgt spid="83"/>
                        </p:tgtEl>
                        <p:attrNameLst>
                          <p:attrName>style.visibility</p:attrName>
                        </p:attrNameLst>
                      </p:cBhvr>
                      <p:to>
                        <p:strVal val="visible"/>
                      </p:to>
                    </p:set>
                    <p:animEffect transition="in" filter="fade">
                      <p:cBhvr>
                        <p:cTn dur="500"/>
                        <p:tgtEl>
                          <p:spTgt spid="83"/>
                        </p:tgtEl>
                      </p:cBhvr>
                    </p:animEffect>
                  </p:childTnLst>
                </p:cTn>
              </p:par>
            </p:tnLst>
          </p:tmpl>
        </p:tmplLst>
      </p:bldP>
    </p:bld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Agnda">
    <p:spTree>
      <p:nvGrpSpPr>
        <p:cNvPr id="1" name=""/>
        <p:cNvGrpSpPr/>
        <p:nvPr/>
      </p:nvGrpSpPr>
      <p:grpSpPr>
        <a:xfrm>
          <a:off x="0" y="0"/>
          <a:ext cx="0" cy="0"/>
          <a:chOff x="0" y="0"/>
          <a:chExt cx="0" cy="0"/>
        </a:xfrm>
      </p:grpSpPr>
      <p:grpSp>
        <p:nvGrpSpPr>
          <p:cNvPr id="53" name="Group 52">
            <a:extLst>
              <a:ext uri="{FF2B5EF4-FFF2-40B4-BE49-F238E27FC236}">
                <a16:creationId xmlns:a16="http://schemas.microsoft.com/office/drawing/2014/main" id="{6F1C88AA-B917-4B86-B0CA-3F32CD509C84}"/>
              </a:ext>
            </a:extLst>
          </p:cNvPr>
          <p:cNvGrpSpPr/>
          <p:nvPr/>
        </p:nvGrpSpPr>
        <p:grpSpPr>
          <a:xfrm>
            <a:off x="1914293" y="343037"/>
            <a:ext cx="868948" cy="1159664"/>
            <a:chOff x="9299574" y="-2258163"/>
            <a:chExt cx="2892425" cy="3860118"/>
          </a:xfrm>
        </p:grpSpPr>
        <p:sp>
          <p:nvSpPr>
            <p:cNvPr id="54" name="Oval 53">
              <a:extLst>
                <a:ext uri="{FF2B5EF4-FFF2-40B4-BE49-F238E27FC236}">
                  <a16:creationId xmlns:a16="http://schemas.microsoft.com/office/drawing/2014/main" id="{BBD8FBEF-1F46-409C-B97B-078AF8296523}"/>
                </a:ext>
              </a:extLst>
            </p:cNvPr>
            <p:cNvSpPr/>
            <p:nvPr/>
          </p:nvSpPr>
          <p:spPr>
            <a:xfrm>
              <a:off x="9299574" y="-2258163"/>
              <a:ext cx="2892425" cy="289242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a:p>
          </p:txBody>
        </p:sp>
        <p:sp>
          <p:nvSpPr>
            <p:cNvPr id="55" name="Freeform 6">
              <a:extLst>
                <a:ext uri="{FF2B5EF4-FFF2-40B4-BE49-F238E27FC236}">
                  <a16:creationId xmlns:a16="http://schemas.microsoft.com/office/drawing/2014/main" id="{13D45ADE-5AA0-4880-8AFA-695D1D7B3E9A}"/>
                </a:ext>
              </a:extLst>
            </p:cNvPr>
            <p:cNvSpPr>
              <a:spLocks/>
            </p:cNvSpPr>
            <p:nvPr/>
          </p:nvSpPr>
          <p:spPr bwMode="auto">
            <a:xfrm rot="17654240">
              <a:off x="10083723" y="-380457"/>
              <a:ext cx="1334192" cy="2630632"/>
            </a:xfrm>
            <a:custGeom>
              <a:avLst/>
              <a:gdLst>
                <a:gd name="T0" fmla="*/ 451 w 505"/>
                <a:gd name="T1" fmla="*/ 0 h 995"/>
                <a:gd name="T2" fmla="*/ 439 w 505"/>
                <a:gd name="T3" fmla="*/ 5 h 995"/>
                <a:gd name="T4" fmla="*/ 427 w 505"/>
                <a:gd name="T5" fmla="*/ 15 h 995"/>
                <a:gd name="T6" fmla="*/ 392 w 505"/>
                <a:gd name="T7" fmla="*/ 46 h 995"/>
                <a:gd name="T8" fmla="*/ 277 w 505"/>
                <a:gd name="T9" fmla="*/ 159 h 995"/>
                <a:gd name="T10" fmla="*/ 43 w 505"/>
                <a:gd name="T11" fmla="*/ 548 h 995"/>
                <a:gd name="T12" fmla="*/ 0 w 505"/>
                <a:gd name="T13" fmla="*/ 790 h 995"/>
                <a:gd name="T14" fmla="*/ 24 w 505"/>
                <a:gd name="T15" fmla="*/ 915 h 995"/>
                <a:gd name="T16" fmla="*/ 95 w 505"/>
                <a:gd name="T17" fmla="*/ 986 h 995"/>
                <a:gd name="T18" fmla="*/ 147 w 505"/>
                <a:gd name="T19" fmla="*/ 995 h 995"/>
                <a:gd name="T20" fmla="*/ 148 w 505"/>
                <a:gd name="T21" fmla="*/ 995 h 995"/>
                <a:gd name="T22" fmla="*/ 460 w 505"/>
                <a:gd name="T23" fmla="*/ 736 h 995"/>
                <a:gd name="T24" fmla="*/ 505 w 505"/>
                <a:gd name="T25" fmla="*/ 399 h 995"/>
                <a:gd name="T26" fmla="*/ 472 w 505"/>
                <a:gd name="T27" fmla="*/ 50 h 995"/>
                <a:gd name="T28" fmla="*/ 466 w 505"/>
                <a:gd name="T29" fmla="*/ 20 h 995"/>
                <a:gd name="T30" fmla="*/ 451 w 505"/>
                <a:gd name="T31" fmla="*/ 0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995">
                  <a:moveTo>
                    <a:pt x="451" y="0"/>
                  </a:moveTo>
                  <a:cubicBezTo>
                    <a:pt x="447" y="0"/>
                    <a:pt x="443" y="2"/>
                    <a:pt x="439" y="5"/>
                  </a:cubicBezTo>
                  <a:cubicBezTo>
                    <a:pt x="439" y="5"/>
                    <a:pt x="435" y="8"/>
                    <a:pt x="427" y="15"/>
                  </a:cubicBezTo>
                  <a:cubicBezTo>
                    <a:pt x="419" y="22"/>
                    <a:pt x="407" y="32"/>
                    <a:pt x="392" y="46"/>
                  </a:cubicBezTo>
                  <a:cubicBezTo>
                    <a:pt x="370" y="64"/>
                    <a:pt x="327" y="104"/>
                    <a:pt x="277" y="159"/>
                  </a:cubicBezTo>
                  <a:cubicBezTo>
                    <a:pt x="198" y="247"/>
                    <a:pt x="93" y="387"/>
                    <a:pt x="43" y="548"/>
                  </a:cubicBezTo>
                  <a:cubicBezTo>
                    <a:pt x="14" y="642"/>
                    <a:pt x="0" y="723"/>
                    <a:pt x="0" y="790"/>
                  </a:cubicBezTo>
                  <a:cubicBezTo>
                    <a:pt x="0" y="840"/>
                    <a:pt x="8" y="882"/>
                    <a:pt x="24" y="915"/>
                  </a:cubicBezTo>
                  <a:cubicBezTo>
                    <a:pt x="39" y="948"/>
                    <a:pt x="62" y="971"/>
                    <a:pt x="95" y="986"/>
                  </a:cubicBezTo>
                  <a:cubicBezTo>
                    <a:pt x="109" y="992"/>
                    <a:pt x="126" y="995"/>
                    <a:pt x="147" y="995"/>
                  </a:cubicBezTo>
                  <a:cubicBezTo>
                    <a:pt x="148" y="995"/>
                    <a:pt x="148" y="995"/>
                    <a:pt x="148" y="995"/>
                  </a:cubicBezTo>
                  <a:cubicBezTo>
                    <a:pt x="244" y="995"/>
                    <a:pt x="405" y="915"/>
                    <a:pt x="460" y="736"/>
                  </a:cubicBezTo>
                  <a:cubicBezTo>
                    <a:pt x="490" y="640"/>
                    <a:pt x="505" y="526"/>
                    <a:pt x="505" y="399"/>
                  </a:cubicBezTo>
                  <a:cubicBezTo>
                    <a:pt x="505" y="240"/>
                    <a:pt x="482" y="102"/>
                    <a:pt x="472" y="50"/>
                  </a:cubicBezTo>
                  <a:cubicBezTo>
                    <a:pt x="468" y="31"/>
                    <a:pt x="466" y="20"/>
                    <a:pt x="466" y="20"/>
                  </a:cubicBezTo>
                  <a:cubicBezTo>
                    <a:pt x="464" y="11"/>
                    <a:pt x="459" y="0"/>
                    <a:pt x="451" y="0"/>
                  </a:cubicBezTo>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56" name="Freeform 6">
              <a:extLst>
                <a:ext uri="{FF2B5EF4-FFF2-40B4-BE49-F238E27FC236}">
                  <a16:creationId xmlns:a16="http://schemas.microsoft.com/office/drawing/2014/main" id="{D53FFBAB-A7AC-49C7-A1DC-F4B7C4DF9CAB}"/>
                </a:ext>
              </a:extLst>
            </p:cNvPr>
            <p:cNvSpPr>
              <a:spLocks/>
            </p:cNvSpPr>
            <p:nvPr/>
          </p:nvSpPr>
          <p:spPr bwMode="auto">
            <a:xfrm rot="1067620">
              <a:off x="10815109" y="-1348313"/>
              <a:ext cx="1209678" cy="2385122"/>
            </a:xfrm>
            <a:custGeom>
              <a:avLst/>
              <a:gdLst>
                <a:gd name="T0" fmla="*/ 451 w 505"/>
                <a:gd name="T1" fmla="*/ 0 h 995"/>
                <a:gd name="T2" fmla="*/ 439 w 505"/>
                <a:gd name="T3" fmla="*/ 5 h 995"/>
                <a:gd name="T4" fmla="*/ 427 w 505"/>
                <a:gd name="T5" fmla="*/ 15 h 995"/>
                <a:gd name="T6" fmla="*/ 392 w 505"/>
                <a:gd name="T7" fmla="*/ 46 h 995"/>
                <a:gd name="T8" fmla="*/ 277 w 505"/>
                <a:gd name="T9" fmla="*/ 159 h 995"/>
                <a:gd name="T10" fmla="*/ 43 w 505"/>
                <a:gd name="T11" fmla="*/ 548 h 995"/>
                <a:gd name="T12" fmla="*/ 0 w 505"/>
                <a:gd name="T13" fmla="*/ 790 h 995"/>
                <a:gd name="T14" fmla="*/ 24 w 505"/>
                <a:gd name="T15" fmla="*/ 915 h 995"/>
                <a:gd name="T16" fmla="*/ 95 w 505"/>
                <a:gd name="T17" fmla="*/ 986 h 995"/>
                <a:gd name="T18" fmla="*/ 147 w 505"/>
                <a:gd name="T19" fmla="*/ 995 h 995"/>
                <a:gd name="T20" fmla="*/ 148 w 505"/>
                <a:gd name="T21" fmla="*/ 995 h 995"/>
                <a:gd name="T22" fmla="*/ 460 w 505"/>
                <a:gd name="T23" fmla="*/ 736 h 995"/>
                <a:gd name="T24" fmla="*/ 505 w 505"/>
                <a:gd name="T25" fmla="*/ 399 h 995"/>
                <a:gd name="T26" fmla="*/ 472 w 505"/>
                <a:gd name="T27" fmla="*/ 50 h 995"/>
                <a:gd name="T28" fmla="*/ 466 w 505"/>
                <a:gd name="T29" fmla="*/ 20 h 995"/>
                <a:gd name="T30" fmla="*/ 451 w 505"/>
                <a:gd name="T31" fmla="*/ 0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995">
                  <a:moveTo>
                    <a:pt x="451" y="0"/>
                  </a:moveTo>
                  <a:cubicBezTo>
                    <a:pt x="447" y="0"/>
                    <a:pt x="443" y="2"/>
                    <a:pt x="439" y="5"/>
                  </a:cubicBezTo>
                  <a:cubicBezTo>
                    <a:pt x="439" y="5"/>
                    <a:pt x="435" y="8"/>
                    <a:pt x="427" y="15"/>
                  </a:cubicBezTo>
                  <a:cubicBezTo>
                    <a:pt x="419" y="22"/>
                    <a:pt x="407" y="32"/>
                    <a:pt x="392" y="46"/>
                  </a:cubicBezTo>
                  <a:cubicBezTo>
                    <a:pt x="370" y="64"/>
                    <a:pt x="327" y="104"/>
                    <a:pt x="277" y="159"/>
                  </a:cubicBezTo>
                  <a:cubicBezTo>
                    <a:pt x="198" y="247"/>
                    <a:pt x="93" y="387"/>
                    <a:pt x="43" y="548"/>
                  </a:cubicBezTo>
                  <a:cubicBezTo>
                    <a:pt x="14" y="642"/>
                    <a:pt x="0" y="723"/>
                    <a:pt x="0" y="790"/>
                  </a:cubicBezTo>
                  <a:cubicBezTo>
                    <a:pt x="0" y="840"/>
                    <a:pt x="8" y="882"/>
                    <a:pt x="24" y="915"/>
                  </a:cubicBezTo>
                  <a:cubicBezTo>
                    <a:pt x="39" y="948"/>
                    <a:pt x="62" y="971"/>
                    <a:pt x="95" y="986"/>
                  </a:cubicBezTo>
                  <a:cubicBezTo>
                    <a:pt x="109" y="992"/>
                    <a:pt x="126" y="995"/>
                    <a:pt x="147" y="995"/>
                  </a:cubicBezTo>
                  <a:cubicBezTo>
                    <a:pt x="148" y="995"/>
                    <a:pt x="148" y="995"/>
                    <a:pt x="148" y="995"/>
                  </a:cubicBezTo>
                  <a:cubicBezTo>
                    <a:pt x="244" y="995"/>
                    <a:pt x="405" y="915"/>
                    <a:pt x="460" y="736"/>
                  </a:cubicBezTo>
                  <a:cubicBezTo>
                    <a:pt x="490" y="640"/>
                    <a:pt x="505" y="526"/>
                    <a:pt x="505" y="399"/>
                  </a:cubicBezTo>
                  <a:cubicBezTo>
                    <a:pt x="505" y="240"/>
                    <a:pt x="482" y="102"/>
                    <a:pt x="472" y="50"/>
                  </a:cubicBezTo>
                  <a:cubicBezTo>
                    <a:pt x="468" y="31"/>
                    <a:pt x="466" y="20"/>
                    <a:pt x="466" y="20"/>
                  </a:cubicBezTo>
                  <a:cubicBezTo>
                    <a:pt x="464" y="11"/>
                    <a:pt x="459" y="0"/>
                    <a:pt x="451" y="0"/>
                  </a:cubicBezTo>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57" name="Group 15">
            <a:extLst>
              <a:ext uri="{FF2B5EF4-FFF2-40B4-BE49-F238E27FC236}">
                <a16:creationId xmlns:a16="http://schemas.microsoft.com/office/drawing/2014/main" id="{2CC6FD60-1271-4F92-9CF7-D908B89A68A2}"/>
              </a:ext>
            </a:extLst>
          </p:cNvPr>
          <p:cNvGrpSpPr>
            <a:grpSpLocks noChangeAspect="1"/>
          </p:cNvGrpSpPr>
          <p:nvPr/>
        </p:nvGrpSpPr>
        <p:grpSpPr bwMode="auto">
          <a:xfrm>
            <a:off x="970445" y="453056"/>
            <a:ext cx="648910" cy="648910"/>
            <a:chOff x="3023" y="1344"/>
            <a:chExt cx="1634" cy="1634"/>
          </a:xfrm>
        </p:grpSpPr>
        <p:sp>
          <p:nvSpPr>
            <p:cNvPr id="58" name="Freeform 16">
              <a:extLst>
                <a:ext uri="{FF2B5EF4-FFF2-40B4-BE49-F238E27FC236}">
                  <a16:creationId xmlns:a16="http://schemas.microsoft.com/office/drawing/2014/main" id="{A8B9E6A7-3A11-459A-ADAC-A57558A81A9F}"/>
                </a:ext>
              </a:extLst>
            </p:cNvPr>
            <p:cNvSpPr>
              <a:spLocks/>
            </p:cNvSpPr>
            <p:nvPr/>
          </p:nvSpPr>
          <p:spPr bwMode="auto">
            <a:xfrm>
              <a:off x="3023" y="1344"/>
              <a:ext cx="1634" cy="1634"/>
            </a:xfrm>
            <a:custGeom>
              <a:avLst/>
              <a:gdLst>
                <a:gd name="T0" fmla="*/ 852 w 862"/>
                <a:gd name="T1" fmla="*/ 338 h 862"/>
                <a:gd name="T2" fmla="*/ 431 w 862"/>
                <a:gd name="T3" fmla="*/ 0 h 862"/>
                <a:gd name="T4" fmla="*/ 0 w 862"/>
                <a:gd name="T5" fmla="*/ 431 h 862"/>
                <a:gd name="T6" fmla="*/ 181 w 862"/>
                <a:gd name="T7" fmla="*/ 782 h 862"/>
                <a:gd name="T8" fmla="*/ 386 w 862"/>
                <a:gd name="T9" fmla="*/ 860 h 862"/>
                <a:gd name="T10" fmla="*/ 431 w 862"/>
                <a:gd name="T11" fmla="*/ 862 h 862"/>
                <a:gd name="T12" fmla="*/ 604 w 862"/>
                <a:gd name="T13" fmla="*/ 826 h 862"/>
                <a:gd name="T14" fmla="*/ 835 w 862"/>
                <a:gd name="T15" fmla="*/ 582 h 862"/>
                <a:gd name="T16" fmla="*/ 858 w 862"/>
                <a:gd name="T17" fmla="*/ 491 h 862"/>
                <a:gd name="T18" fmla="*/ 862 w 862"/>
                <a:gd name="T19" fmla="*/ 431 h 862"/>
                <a:gd name="T20" fmla="*/ 852 w 862"/>
                <a:gd name="T21" fmla="*/ 338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2" h="862">
                  <a:moveTo>
                    <a:pt x="852" y="338"/>
                  </a:moveTo>
                  <a:cubicBezTo>
                    <a:pt x="809" y="145"/>
                    <a:pt x="637" y="0"/>
                    <a:pt x="431" y="0"/>
                  </a:cubicBezTo>
                  <a:cubicBezTo>
                    <a:pt x="193" y="0"/>
                    <a:pt x="0" y="193"/>
                    <a:pt x="0" y="431"/>
                  </a:cubicBezTo>
                  <a:cubicBezTo>
                    <a:pt x="0" y="576"/>
                    <a:pt x="72" y="704"/>
                    <a:pt x="181" y="782"/>
                  </a:cubicBezTo>
                  <a:cubicBezTo>
                    <a:pt x="240" y="824"/>
                    <a:pt x="310" y="852"/>
                    <a:pt x="386" y="860"/>
                  </a:cubicBezTo>
                  <a:cubicBezTo>
                    <a:pt x="401" y="861"/>
                    <a:pt x="416" y="862"/>
                    <a:pt x="431" y="862"/>
                  </a:cubicBezTo>
                  <a:cubicBezTo>
                    <a:pt x="492" y="862"/>
                    <a:pt x="551" y="849"/>
                    <a:pt x="604" y="826"/>
                  </a:cubicBezTo>
                  <a:cubicBezTo>
                    <a:pt x="710" y="779"/>
                    <a:pt x="794" y="691"/>
                    <a:pt x="835" y="582"/>
                  </a:cubicBezTo>
                  <a:cubicBezTo>
                    <a:pt x="846" y="553"/>
                    <a:pt x="853" y="523"/>
                    <a:pt x="858" y="491"/>
                  </a:cubicBezTo>
                  <a:cubicBezTo>
                    <a:pt x="860" y="472"/>
                    <a:pt x="862" y="451"/>
                    <a:pt x="862" y="431"/>
                  </a:cubicBezTo>
                  <a:cubicBezTo>
                    <a:pt x="862" y="399"/>
                    <a:pt x="858" y="368"/>
                    <a:pt x="852" y="33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7">
              <a:extLst>
                <a:ext uri="{FF2B5EF4-FFF2-40B4-BE49-F238E27FC236}">
                  <a16:creationId xmlns:a16="http://schemas.microsoft.com/office/drawing/2014/main" id="{6F9EE9F9-ECA8-4237-A006-609D9C52B8A7}"/>
                </a:ext>
              </a:extLst>
            </p:cNvPr>
            <p:cNvSpPr>
              <a:spLocks/>
            </p:cNvSpPr>
            <p:nvPr/>
          </p:nvSpPr>
          <p:spPr bwMode="auto">
            <a:xfrm>
              <a:off x="3286" y="2561"/>
              <a:ext cx="522" cy="413"/>
            </a:xfrm>
            <a:custGeom>
              <a:avLst/>
              <a:gdLst>
                <a:gd name="T0" fmla="*/ 13 w 275"/>
                <a:gd name="T1" fmla="*/ 0 h 218"/>
                <a:gd name="T2" fmla="*/ 1 w 275"/>
                <a:gd name="T3" fmla="*/ 5 h 218"/>
                <a:gd name="T4" fmla="*/ 1 w 275"/>
                <a:gd name="T5" fmla="*/ 15 h 218"/>
                <a:gd name="T6" fmla="*/ 4 w 275"/>
                <a:gd name="T7" fmla="*/ 27 h 218"/>
                <a:gd name="T8" fmla="*/ 15 w 275"/>
                <a:gd name="T9" fmla="*/ 62 h 218"/>
                <a:gd name="T10" fmla="*/ 42 w 275"/>
                <a:gd name="T11" fmla="*/ 140 h 218"/>
                <a:gd name="T12" fmla="*/ 247 w 275"/>
                <a:gd name="T13" fmla="*/ 218 h 218"/>
                <a:gd name="T14" fmla="*/ 247 w 275"/>
                <a:gd name="T15" fmla="*/ 217 h 218"/>
                <a:gd name="T16" fmla="*/ 246 w 275"/>
                <a:gd name="T17" fmla="*/ 197 h 218"/>
                <a:gd name="T18" fmla="*/ 246 w 275"/>
                <a:gd name="T19" fmla="*/ 197 h 218"/>
                <a:gd name="T20" fmla="*/ 258 w 275"/>
                <a:gd name="T21" fmla="*/ 127 h 218"/>
                <a:gd name="T22" fmla="*/ 275 w 275"/>
                <a:gd name="T23" fmla="*/ 83 h 218"/>
                <a:gd name="T24" fmla="*/ 44 w 275"/>
                <a:gd name="T25" fmla="*/ 6 h 218"/>
                <a:gd name="T26" fmla="*/ 20 w 275"/>
                <a:gd name="T27" fmla="*/ 1 h 218"/>
                <a:gd name="T28" fmla="*/ 13 w 275"/>
                <a:gd name="T29"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5" h="218">
                  <a:moveTo>
                    <a:pt x="13" y="0"/>
                  </a:moveTo>
                  <a:cubicBezTo>
                    <a:pt x="8" y="0"/>
                    <a:pt x="3" y="1"/>
                    <a:pt x="1" y="5"/>
                  </a:cubicBezTo>
                  <a:cubicBezTo>
                    <a:pt x="0" y="8"/>
                    <a:pt x="0" y="12"/>
                    <a:pt x="1" y="15"/>
                  </a:cubicBezTo>
                  <a:cubicBezTo>
                    <a:pt x="1" y="15"/>
                    <a:pt x="2" y="19"/>
                    <a:pt x="4" y="27"/>
                  </a:cubicBezTo>
                  <a:cubicBezTo>
                    <a:pt x="7" y="35"/>
                    <a:pt x="10" y="47"/>
                    <a:pt x="15" y="62"/>
                  </a:cubicBezTo>
                  <a:cubicBezTo>
                    <a:pt x="19" y="78"/>
                    <a:pt x="28" y="105"/>
                    <a:pt x="42" y="140"/>
                  </a:cubicBezTo>
                  <a:cubicBezTo>
                    <a:pt x="101" y="182"/>
                    <a:pt x="171" y="210"/>
                    <a:pt x="247" y="218"/>
                  </a:cubicBezTo>
                  <a:cubicBezTo>
                    <a:pt x="247" y="217"/>
                    <a:pt x="247" y="217"/>
                    <a:pt x="247" y="217"/>
                  </a:cubicBezTo>
                  <a:cubicBezTo>
                    <a:pt x="246" y="211"/>
                    <a:pt x="246" y="204"/>
                    <a:pt x="246" y="197"/>
                  </a:cubicBezTo>
                  <a:cubicBezTo>
                    <a:pt x="246" y="197"/>
                    <a:pt x="246" y="197"/>
                    <a:pt x="246" y="197"/>
                  </a:cubicBezTo>
                  <a:cubicBezTo>
                    <a:pt x="246" y="176"/>
                    <a:pt x="250" y="153"/>
                    <a:pt x="258" y="127"/>
                  </a:cubicBezTo>
                  <a:cubicBezTo>
                    <a:pt x="263" y="113"/>
                    <a:pt x="268" y="98"/>
                    <a:pt x="275" y="83"/>
                  </a:cubicBezTo>
                  <a:cubicBezTo>
                    <a:pt x="173" y="39"/>
                    <a:pt x="81" y="15"/>
                    <a:pt x="44" y="6"/>
                  </a:cubicBezTo>
                  <a:cubicBezTo>
                    <a:pt x="29" y="3"/>
                    <a:pt x="20" y="1"/>
                    <a:pt x="20" y="1"/>
                  </a:cubicBezTo>
                  <a:cubicBezTo>
                    <a:pt x="18" y="0"/>
                    <a:pt x="15" y="0"/>
                    <a:pt x="13" y="0"/>
                  </a:cubicBezTo>
                </a:path>
              </a:pathLst>
            </a:custGeom>
            <a:solidFill>
              <a:schemeClr val="bg1">
                <a:alpha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18">
              <a:extLst>
                <a:ext uri="{FF2B5EF4-FFF2-40B4-BE49-F238E27FC236}">
                  <a16:creationId xmlns:a16="http://schemas.microsoft.com/office/drawing/2014/main" id="{89E8591D-BD97-41BF-945D-D5916359F1B9}"/>
                </a:ext>
              </a:extLst>
            </p:cNvPr>
            <p:cNvSpPr>
              <a:spLocks/>
            </p:cNvSpPr>
            <p:nvPr/>
          </p:nvSpPr>
          <p:spPr bwMode="auto">
            <a:xfrm>
              <a:off x="3808" y="1985"/>
              <a:ext cx="849" cy="925"/>
            </a:xfrm>
            <a:custGeom>
              <a:avLst/>
              <a:gdLst>
                <a:gd name="T0" fmla="*/ 438 w 448"/>
                <a:gd name="T1" fmla="*/ 0 h 488"/>
                <a:gd name="T2" fmla="*/ 411 w 448"/>
                <a:gd name="T3" fmla="*/ 11 h 488"/>
                <a:gd name="T4" fmla="*/ 309 w 448"/>
                <a:gd name="T5" fmla="*/ 63 h 488"/>
                <a:gd name="T6" fmla="*/ 65 w 448"/>
                <a:gd name="T7" fmla="*/ 276 h 488"/>
                <a:gd name="T8" fmla="*/ 0 w 448"/>
                <a:gd name="T9" fmla="*/ 387 h 488"/>
                <a:gd name="T10" fmla="*/ 30 w 448"/>
                <a:gd name="T11" fmla="*/ 399 h 488"/>
                <a:gd name="T12" fmla="*/ 190 w 448"/>
                <a:gd name="T13" fmla="*/ 488 h 488"/>
                <a:gd name="T14" fmla="*/ 190 w 448"/>
                <a:gd name="T15" fmla="*/ 488 h 488"/>
                <a:gd name="T16" fmla="*/ 190 w 448"/>
                <a:gd name="T17" fmla="*/ 488 h 488"/>
                <a:gd name="T18" fmla="*/ 421 w 448"/>
                <a:gd name="T19" fmla="*/ 244 h 488"/>
                <a:gd name="T20" fmla="*/ 444 w 448"/>
                <a:gd name="T21" fmla="*/ 153 h 488"/>
                <a:gd name="T22" fmla="*/ 448 w 448"/>
                <a:gd name="T23" fmla="*/ 93 h 488"/>
                <a:gd name="T24" fmla="*/ 438 w 448"/>
                <a:gd name="T25" fmla="*/ 0 h 488"/>
                <a:gd name="T26" fmla="*/ 438 w 448"/>
                <a:gd name="T27" fmla="*/ 0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8" h="488">
                  <a:moveTo>
                    <a:pt x="438" y="0"/>
                  </a:moveTo>
                  <a:cubicBezTo>
                    <a:pt x="431" y="2"/>
                    <a:pt x="422" y="6"/>
                    <a:pt x="411" y="11"/>
                  </a:cubicBezTo>
                  <a:cubicBezTo>
                    <a:pt x="392" y="19"/>
                    <a:pt x="355" y="37"/>
                    <a:pt x="309" y="63"/>
                  </a:cubicBezTo>
                  <a:cubicBezTo>
                    <a:pt x="236" y="106"/>
                    <a:pt x="134" y="178"/>
                    <a:pt x="65" y="276"/>
                  </a:cubicBezTo>
                  <a:cubicBezTo>
                    <a:pt x="37" y="316"/>
                    <a:pt x="16" y="353"/>
                    <a:pt x="0" y="387"/>
                  </a:cubicBezTo>
                  <a:cubicBezTo>
                    <a:pt x="10" y="391"/>
                    <a:pt x="20" y="395"/>
                    <a:pt x="30" y="399"/>
                  </a:cubicBezTo>
                  <a:cubicBezTo>
                    <a:pt x="90" y="426"/>
                    <a:pt x="143" y="456"/>
                    <a:pt x="190" y="488"/>
                  </a:cubicBezTo>
                  <a:cubicBezTo>
                    <a:pt x="190" y="488"/>
                    <a:pt x="190" y="488"/>
                    <a:pt x="190" y="488"/>
                  </a:cubicBezTo>
                  <a:cubicBezTo>
                    <a:pt x="190" y="488"/>
                    <a:pt x="190" y="488"/>
                    <a:pt x="190" y="488"/>
                  </a:cubicBezTo>
                  <a:cubicBezTo>
                    <a:pt x="296" y="441"/>
                    <a:pt x="380" y="353"/>
                    <a:pt x="421" y="244"/>
                  </a:cubicBezTo>
                  <a:cubicBezTo>
                    <a:pt x="430" y="212"/>
                    <a:pt x="438" y="181"/>
                    <a:pt x="444" y="153"/>
                  </a:cubicBezTo>
                  <a:cubicBezTo>
                    <a:pt x="446" y="134"/>
                    <a:pt x="448" y="113"/>
                    <a:pt x="448" y="93"/>
                  </a:cubicBezTo>
                  <a:cubicBezTo>
                    <a:pt x="448" y="61"/>
                    <a:pt x="444" y="30"/>
                    <a:pt x="438" y="0"/>
                  </a:cubicBezTo>
                  <a:cubicBezTo>
                    <a:pt x="438" y="0"/>
                    <a:pt x="438" y="0"/>
                    <a:pt x="438" y="0"/>
                  </a:cubicBezTo>
                </a:path>
              </a:pathLst>
            </a:custGeom>
            <a:solidFill>
              <a:schemeClr val="bg1">
                <a:alpha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19">
              <a:extLst>
                <a:ext uri="{FF2B5EF4-FFF2-40B4-BE49-F238E27FC236}">
                  <a16:creationId xmlns:a16="http://schemas.microsoft.com/office/drawing/2014/main" id="{1D991425-9A1B-4853-BAAD-6C0CA1565EB1}"/>
                </a:ext>
              </a:extLst>
            </p:cNvPr>
            <p:cNvSpPr>
              <a:spLocks/>
            </p:cNvSpPr>
            <p:nvPr/>
          </p:nvSpPr>
          <p:spPr bwMode="auto">
            <a:xfrm>
              <a:off x="3753" y="2718"/>
              <a:ext cx="415" cy="260"/>
            </a:xfrm>
            <a:custGeom>
              <a:avLst/>
              <a:gdLst>
                <a:gd name="T0" fmla="*/ 29 w 219"/>
                <a:gd name="T1" fmla="*/ 0 h 137"/>
                <a:gd name="T2" fmla="*/ 12 w 219"/>
                <a:gd name="T3" fmla="*/ 44 h 137"/>
                <a:gd name="T4" fmla="*/ 0 w 219"/>
                <a:gd name="T5" fmla="*/ 114 h 137"/>
                <a:gd name="T6" fmla="*/ 1 w 219"/>
                <a:gd name="T7" fmla="*/ 134 h 137"/>
                <a:gd name="T8" fmla="*/ 1 w 219"/>
                <a:gd name="T9" fmla="*/ 135 h 137"/>
                <a:gd name="T10" fmla="*/ 46 w 219"/>
                <a:gd name="T11" fmla="*/ 137 h 137"/>
                <a:gd name="T12" fmla="*/ 219 w 219"/>
                <a:gd name="T13" fmla="*/ 101 h 137"/>
                <a:gd name="T14" fmla="*/ 59 w 219"/>
                <a:gd name="T15" fmla="*/ 12 h 137"/>
                <a:gd name="T16" fmla="*/ 29 w 219"/>
                <a:gd name="T17"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37">
                  <a:moveTo>
                    <a:pt x="29" y="0"/>
                  </a:moveTo>
                  <a:cubicBezTo>
                    <a:pt x="22" y="15"/>
                    <a:pt x="17" y="30"/>
                    <a:pt x="12" y="44"/>
                  </a:cubicBezTo>
                  <a:cubicBezTo>
                    <a:pt x="4" y="70"/>
                    <a:pt x="0" y="93"/>
                    <a:pt x="0" y="114"/>
                  </a:cubicBezTo>
                  <a:cubicBezTo>
                    <a:pt x="0" y="121"/>
                    <a:pt x="0" y="128"/>
                    <a:pt x="1" y="134"/>
                  </a:cubicBezTo>
                  <a:cubicBezTo>
                    <a:pt x="1" y="135"/>
                    <a:pt x="1" y="135"/>
                    <a:pt x="1" y="135"/>
                  </a:cubicBezTo>
                  <a:cubicBezTo>
                    <a:pt x="16" y="136"/>
                    <a:pt x="31" y="137"/>
                    <a:pt x="46" y="137"/>
                  </a:cubicBezTo>
                  <a:cubicBezTo>
                    <a:pt x="107" y="137"/>
                    <a:pt x="166" y="124"/>
                    <a:pt x="219" y="101"/>
                  </a:cubicBezTo>
                  <a:cubicBezTo>
                    <a:pt x="172" y="69"/>
                    <a:pt x="119" y="39"/>
                    <a:pt x="59" y="12"/>
                  </a:cubicBezTo>
                  <a:cubicBezTo>
                    <a:pt x="49" y="8"/>
                    <a:pt x="39" y="4"/>
                    <a:pt x="29" y="0"/>
                  </a:cubicBezTo>
                </a:path>
              </a:pathLst>
            </a:custGeom>
            <a:solidFill>
              <a:schemeClr val="bg1">
                <a:alpha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Slide Number Placeholder 3">
            <a:extLst>
              <a:ext uri="{FF2B5EF4-FFF2-40B4-BE49-F238E27FC236}">
                <a16:creationId xmlns:a16="http://schemas.microsoft.com/office/drawing/2014/main" id="{AC39937D-A797-4A74-B576-60C1722C1D93}"/>
              </a:ext>
            </a:extLst>
          </p:cNvPr>
          <p:cNvSpPr>
            <a:spLocks noGrp="1"/>
          </p:cNvSpPr>
          <p:nvPr>
            <p:ph type="sldNum" sz="quarter" idx="12"/>
          </p:nvPr>
        </p:nvSpPr>
        <p:spPr/>
        <p:txBody>
          <a:bodyPr/>
          <a:lstStyle/>
          <a:p>
            <a:fld id="{330EA680-D336-4FF7-8B7A-9848BB0A1C32}" type="slidenum">
              <a:rPr lang="en-US" smtClean="0"/>
              <a:t>‹#›</a:t>
            </a:fld>
            <a:endParaRPr lang="en-US"/>
          </a:p>
        </p:txBody>
      </p:sp>
      <p:sp>
        <p:nvSpPr>
          <p:cNvPr id="3" name="Rectangle 2">
            <a:extLst>
              <a:ext uri="{FF2B5EF4-FFF2-40B4-BE49-F238E27FC236}">
                <a16:creationId xmlns:a16="http://schemas.microsoft.com/office/drawing/2014/main" id="{46A290BA-C0C6-45F8-9FFD-B16F677023B3}"/>
              </a:ext>
            </a:extLst>
          </p:cNvPr>
          <p:cNvSpPr/>
          <p:nvPr/>
        </p:nvSpPr>
        <p:spPr>
          <a:xfrm>
            <a:off x="0" y="0"/>
            <a:ext cx="35814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t> </a:t>
            </a:r>
          </a:p>
        </p:txBody>
      </p:sp>
      <p:sp>
        <p:nvSpPr>
          <p:cNvPr id="47" name="TextBox 46">
            <a:extLst>
              <a:ext uri="{FF2B5EF4-FFF2-40B4-BE49-F238E27FC236}">
                <a16:creationId xmlns:a16="http://schemas.microsoft.com/office/drawing/2014/main" id="{4DD65989-293E-4D2C-8879-25FD4C3A0FD8}"/>
              </a:ext>
            </a:extLst>
          </p:cNvPr>
          <p:cNvSpPr txBox="1"/>
          <p:nvPr/>
        </p:nvSpPr>
        <p:spPr>
          <a:xfrm>
            <a:off x="599668" y="3133535"/>
            <a:ext cx="2260234" cy="590931"/>
          </a:xfrm>
          <a:prstGeom prst="rect">
            <a:avLst/>
          </a:prstGeom>
          <a:noFill/>
        </p:spPr>
        <p:txBody>
          <a:bodyPr wrap="none" lIns="0" tIns="0" rIns="0" bIns="0" rtlCol="0">
            <a:spAutoFit/>
          </a:bodyPr>
          <a:lstStyle/>
          <a:p>
            <a:pPr algn="l">
              <a:lnSpc>
                <a:spcPct val="80000"/>
              </a:lnSpc>
            </a:pPr>
            <a:r>
              <a:rPr lang="en-GB" sz="4800" b="1">
                <a:solidFill>
                  <a:schemeClr val="bg1"/>
                </a:solidFill>
              </a:rPr>
              <a:t>Agenda</a:t>
            </a:r>
          </a:p>
        </p:txBody>
      </p:sp>
      <p:sp>
        <p:nvSpPr>
          <p:cNvPr id="48" name="Rectangle 47">
            <a:extLst>
              <a:ext uri="{FF2B5EF4-FFF2-40B4-BE49-F238E27FC236}">
                <a16:creationId xmlns:a16="http://schemas.microsoft.com/office/drawing/2014/main" id="{73B616AA-57FC-4FAA-8064-65327F694B10}"/>
              </a:ext>
            </a:extLst>
          </p:cNvPr>
          <p:cNvSpPr/>
          <p:nvPr/>
        </p:nvSpPr>
        <p:spPr>
          <a:xfrm>
            <a:off x="3581400" y="0"/>
            <a:ext cx="7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63" name="Text Placeholder 62">
            <a:extLst>
              <a:ext uri="{FF2B5EF4-FFF2-40B4-BE49-F238E27FC236}">
                <a16:creationId xmlns:a16="http://schemas.microsoft.com/office/drawing/2014/main" id="{FAE739D0-59DC-4D53-BB13-173764FCE0EF}"/>
              </a:ext>
            </a:extLst>
          </p:cNvPr>
          <p:cNvSpPr>
            <a:spLocks noGrp="1" noChangeAspect="1"/>
          </p:cNvSpPr>
          <p:nvPr>
            <p:ph type="body" sz="quarter" idx="13" hasCustomPrompt="1"/>
          </p:nvPr>
        </p:nvSpPr>
        <p:spPr>
          <a:xfrm>
            <a:off x="4425556" y="728711"/>
            <a:ext cx="540000" cy="5400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nchor="ctr"/>
          <a:lstStyle>
            <a:lvl1pPr algn="ctr">
              <a:lnSpc>
                <a:spcPct val="100000"/>
              </a:lnSpc>
              <a:spcAft>
                <a:spcPts val="0"/>
              </a:spcAft>
              <a:defRPr sz="1800" b="0">
                <a:solidFill>
                  <a:schemeClr val="bg1"/>
                </a:solidFill>
              </a:defRPr>
            </a:lvl1pPr>
          </a:lstStyle>
          <a:p>
            <a:pPr lvl="0"/>
            <a:r>
              <a:rPr lang="en-GB"/>
              <a:t>##</a:t>
            </a:r>
          </a:p>
        </p:txBody>
      </p:sp>
      <p:sp>
        <p:nvSpPr>
          <p:cNvPr id="65" name="Text Placeholder 64">
            <a:extLst>
              <a:ext uri="{FF2B5EF4-FFF2-40B4-BE49-F238E27FC236}">
                <a16:creationId xmlns:a16="http://schemas.microsoft.com/office/drawing/2014/main" id="{797E6425-1FC3-427E-B48C-71990C5D5B9B}"/>
              </a:ext>
            </a:extLst>
          </p:cNvPr>
          <p:cNvSpPr>
            <a:spLocks noGrp="1"/>
          </p:cNvSpPr>
          <p:nvPr>
            <p:ph type="body" sz="quarter" idx="14" hasCustomPrompt="1"/>
          </p:nvPr>
        </p:nvSpPr>
        <p:spPr>
          <a:xfrm>
            <a:off x="5263223" y="832512"/>
            <a:ext cx="6341402" cy="332399"/>
          </a:xfrm>
          <a:prstGeom prst="rect">
            <a:avLst/>
          </a:prstGeom>
        </p:spPr>
        <p:txBody>
          <a:bodyPr wrap="square">
            <a:spAutoFit/>
          </a:bodyPr>
          <a:lstStyle>
            <a:lvl1pPr>
              <a:defRPr lang="en-US" sz="2400" b="0" kern="1200" dirty="0" smtClean="0">
                <a:solidFill>
                  <a:schemeClr val="tx2"/>
                </a:solidFill>
                <a:latin typeface="+mn-lt"/>
                <a:ea typeface="+mn-ea"/>
                <a:cs typeface="+mn-cs"/>
              </a:defRPr>
            </a:lvl1pPr>
          </a:lstStyle>
          <a:p>
            <a:pPr lvl="0"/>
            <a:r>
              <a:rPr lang="en-US"/>
              <a:t>Agenda item 1</a:t>
            </a:r>
            <a:endParaRPr lang="en-GB"/>
          </a:p>
        </p:txBody>
      </p:sp>
      <p:sp>
        <p:nvSpPr>
          <p:cNvPr id="84" name="Text Placeholder 62">
            <a:extLst>
              <a:ext uri="{FF2B5EF4-FFF2-40B4-BE49-F238E27FC236}">
                <a16:creationId xmlns:a16="http://schemas.microsoft.com/office/drawing/2014/main" id="{50EABB97-F686-47AF-ACFC-C56BBB7788CE}"/>
              </a:ext>
            </a:extLst>
          </p:cNvPr>
          <p:cNvSpPr>
            <a:spLocks noGrp="1" noChangeAspect="1"/>
          </p:cNvSpPr>
          <p:nvPr>
            <p:ph type="body" sz="quarter" idx="15" hasCustomPrompt="1"/>
          </p:nvPr>
        </p:nvSpPr>
        <p:spPr>
          <a:xfrm>
            <a:off x="4425556" y="1543451"/>
            <a:ext cx="540000" cy="5400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nchor="ctr"/>
          <a:lstStyle>
            <a:lvl1pPr algn="ctr">
              <a:lnSpc>
                <a:spcPct val="100000"/>
              </a:lnSpc>
              <a:spcAft>
                <a:spcPts val="0"/>
              </a:spcAft>
              <a:defRPr sz="1800" b="0">
                <a:solidFill>
                  <a:schemeClr val="bg1"/>
                </a:solidFill>
              </a:defRPr>
            </a:lvl1pPr>
          </a:lstStyle>
          <a:p>
            <a:pPr lvl="0"/>
            <a:r>
              <a:rPr lang="en-GB"/>
              <a:t>##</a:t>
            </a:r>
          </a:p>
        </p:txBody>
      </p:sp>
      <p:sp>
        <p:nvSpPr>
          <p:cNvPr id="85" name="Text Placeholder 64">
            <a:extLst>
              <a:ext uri="{FF2B5EF4-FFF2-40B4-BE49-F238E27FC236}">
                <a16:creationId xmlns:a16="http://schemas.microsoft.com/office/drawing/2014/main" id="{6E9E97E2-6513-4B48-BFBA-6997610576D2}"/>
              </a:ext>
            </a:extLst>
          </p:cNvPr>
          <p:cNvSpPr>
            <a:spLocks noGrp="1"/>
          </p:cNvSpPr>
          <p:nvPr>
            <p:ph type="body" sz="quarter" idx="16" hasCustomPrompt="1"/>
          </p:nvPr>
        </p:nvSpPr>
        <p:spPr>
          <a:xfrm>
            <a:off x="5263223" y="1647252"/>
            <a:ext cx="6341402" cy="332399"/>
          </a:xfrm>
          <a:prstGeom prst="rect">
            <a:avLst/>
          </a:prstGeom>
        </p:spPr>
        <p:txBody>
          <a:bodyPr wrap="square">
            <a:spAutoFit/>
          </a:bodyPr>
          <a:lstStyle>
            <a:lvl1pPr>
              <a:defRPr lang="en-US" sz="2400" b="0" kern="1200" dirty="0" smtClean="0">
                <a:solidFill>
                  <a:schemeClr val="tx2"/>
                </a:solidFill>
                <a:latin typeface="+mn-lt"/>
                <a:ea typeface="+mn-ea"/>
                <a:cs typeface="+mn-cs"/>
              </a:defRPr>
            </a:lvl1pPr>
          </a:lstStyle>
          <a:p>
            <a:pPr lvl="0"/>
            <a:r>
              <a:rPr lang="en-US"/>
              <a:t>Agenda item 2</a:t>
            </a:r>
            <a:endParaRPr lang="en-GB"/>
          </a:p>
        </p:txBody>
      </p:sp>
      <p:sp>
        <p:nvSpPr>
          <p:cNvPr id="86" name="Text Placeholder 62">
            <a:extLst>
              <a:ext uri="{FF2B5EF4-FFF2-40B4-BE49-F238E27FC236}">
                <a16:creationId xmlns:a16="http://schemas.microsoft.com/office/drawing/2014/main" id="{0440E411-51DA-48CF-9FAE-73B40EA2EDD7}"/>
              </a:ext>
            </a:extLst>
          </p:cNvPr>
          <p:cNvSpPr>
            <a:spLocks noGrp="1" noChangeAspect="1"/>
          </p:cNvSpPr>
          <p:nvPr>
            <p:ph type="body" sz="quarter" idx="17" hasCustomPrompt="1"/>
          </p:nvPr>
        </p:nvSpPr>
        <p:spPr>
          <a:xfrm>
            <a:off x="4425556" y="2358191"/>
            <a:ext cx="540000" cy="5400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nchor="ctr"/>
          <a:lstStyle>
            <a:lvl1pPr algn="ctr">
              <a:lnSpc>
                <a:spcPct val="100000"/>
              </a:lnSpc>
              <a:spcAft>
                <a:spcPts val="0"/>
              </a:spcAft>
              <a:defRPr sz="1800" b="0">
                <a:solidFill>
                  <a:schemeClr val="bg1"/>
                </a:solidFill>
              </a:defRPr>
            </a:lvl1pPr>
          </a:lstStyle>
          <a:p>
            <a:pPr lvl="0"/>
            <a:r>
              <a:rPr lang="en-GB"/>
              <a:t>##</a:t>
            </a:r>
          </a:p>
        </p:txBody>
      </p:sp>
      <p:sp>
        <p:nvSpPr>
          <p:cNvPr id="87" name="Text Placeholder 64">
            <a:extLst>
              <a:ext uri="{FF2B5EF4-FFF2-40B4-BE49-F238E27FC236}">
                <a16:creationId xmlns:a16="http://schemas.microsoft.com/office/drawing/2014/main" id="{FE9A8C91-C9A5-42F2-A755-5A6B1893C76A}"/>
              </a:ext>
            </a:extLst>
          </p:cNvPr>
          <p:cNvSpPr>
            <a:spLocks noGrp="1"/>
          </p:cNvSpPr>
          <p:nvPr>
            <p:ph type="body" sz="quarter" idx="18" hasCustomPrompt="1"/>
          </p:nvPr>
        </p:nvSpPr>
        <p:spPr>
          <a:xfrm>
            <a:off x="5263223" y="2461992"/>
            <a:ext cx="6341402" cy="332399"/>
          </a:xfrm>
          <a:prstGeom prst="rect">
            <a:avLst/>
          </a:prstGeom>
        </p:spPr>
        <p:txBody>
          <a:bodyPr wrap="square">
            <a:spAutoFit/>
          </a:bodyPr>
          <a:lstStyle>
            <a:lvl1pPr>
              <a:defRPr lang="en-US" sz="2400" b="0" kern="1200" dirty="0" smtClean="0">
                <a:solidFill>
                  <a:schemeClr val="tx2"/>
                </a:solidFill>
                <a:latin typeface="+mn-lt"/>
                <a:ea typeface="+mn-ea"/>
                <a:cs typeface="+mn-cs"/>
              </a:defRPr>
            </a:lvl1pPr>
          </a:lstStyle>
          <a:p>
            <a:pPr lvl="0"/>
            <a:r>
              <a:rPr lang="en-US"/>
              <a:t>Agenda item 3</a:t>
            </a:r>
            <a:endParaRPr lang="en-GB"/>
          </a:p>
        </p:txBody>
      </p:sp>
      <p:sp>
        <p:nvSpPr>
          <p:cNvPr id="88" name="Text Placeholder 62">
            <a:extLst>
              <a:ext uri="{FF2B5EF4-FFF2-40B4-BE49-F238E27FC236}">
                <a16:creationId xmlns:a16="http://schemas.microsoft.com/office/drawing/2014/main" id="{570F21BA-FC0F-419D-B97E-940262004634}"/>
              </a:ext>
            </a:extLst>
          </p:cNvPr>
          <p:cNvSpPr>
            <a:spLocks noGrp="1" noChangeAspect="1"/>
          </p:cNvSpPr>
          <p:nvPr>
            <p:ph type="body" sz="quarter" idx="19" hasCustomPrompt="1"/>
          </p:nvPr>
        </p:nvSpPr>
        <p:spPr>
          <a:xfrm>
            <a:off x="4425556" y="3172931"/>
            <a:ext cx="540000" cy="5400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nchor="ctr"/>
          <a:lstStyle>
            <a:lvl1pPr algn="ctr">
              <a:lnSpc>
                <a:spcPct val="100000"/>
              </a:lnSpc>
              <a:spcAft>
                <a:spcPts val="0"/>
              </a:spcAft>
              <a:defRPr sz="1800" b="0">
                <a:solidFill>
                  <a:schemeClr val="bg1"/>
                </a:solidFill>
              </a:defRPr>
            </a:lvl1pPr>
          </a:lstStyle>
          <a:p>
            <a:pPr lvl="0"/>
            <a:r>
              <a:rPr lang="en-GB"/>
              <a:t>##</a:t>
            </a:r>
          </a:p>
        </p:txBody>
      </p:sp>
      <p:sp>
        <p:nvSpPr>
          <p:cNvPr id="89" name="Text Placeholder 64">
            <a:extLst>
              <a:ext uri="{FF2B5EF4-FFF2-40B4-BE49-F238E27FC236}">
                <a16:creationId xmlns:a16="http://schemas.microsoft.com/office/drawing/2014/main" id="{32BE0D7B-A15F-4B43-9284-64A5101836F6}"/>
              </a:ext>
            </a:extLst>
          </p:cNvPr>
          <p:cNvSpPr>
            <a:spLocks noGrp="1"/>
          </p:cNvSpPr>
          <p:nvPr>
            <p:ph type="body" sz="quarter" idx="20" hasCustomPrompt="1"/>
          </p:nvPr>
        </p:nvSpPr>
        <p:spPr>
          <a:xfrm>
            <a:off x="5263223" y="3276732"/>
            <a:ext cx="6341402" cy="332399"/>
          </a:xfrm>
          <a:prstGeom prst="rect">
            <a:avLst/>
          </a:prstGeom>
        </p:spPr>
        <p:txBody>
          <a:bodyPr wrap="square">
            <a:spAutoFit/>
          </a:bodyPr>
          <a:lstStyle>
            <a:lvl1pPr>
              <a:defRPr lang="en-US" sz="2400" b="0" kern="1200" dirty="0" smtClean="0">
                <a:solidFill>
                  <a:schemeClr val="tx2"/>
                </a:solidFill>
                <a:latin typeface="+mn-lt"/>
                <a:ea typeface="+mn-ea"/>
                <a:cs typeface="+mn-cs"/>
              </a:defRPr>
            </a:lvl1pPr>
          </a:lstStyle>
          <a:p>
            <a:pPr lvl="0"/>
            <a:r>
              <a:rPr lang="en-US"/>
              <a:t>Agenda item 4</a:t>
            </a:r>
            <a:endParaRPr lang="en-GB"/>
          </a:p>
        </p:txBody>
      </p:sp>
      <p:sp>
        <p:nvSpPr>
          <p:cNvPr id="90" name="Text Placeholder 62">
            <a:extLst>
              <a:ext uri="{FF2B5EF4-FFF2-40B4-BE49-F238E27FC236}">
                <a16:creationId xmlns:a16="http://schemas.microsoft.com/office/drawing/2014/main" id="{F46FBB1D-926C-4943-A441-A13CFABDFCC3}"/>
              </a:ext>
            </a:extLst>
          </p:cNvPr>
          <p:cNvSpPr>
            <a:spLocks noGrp="1" noChangeAspect="1"/>
          </p:cNvSpPr>
          <p:nvPr>
            <p:ph type="body" sz="quarter" idx="21" hasCustomPrompt="1"/>
          </p:nvPr>
        </p:nvSpPr>
        <p:spPr>
          <a:xfrm>
            <a:off x="4425556" y="3987671"/>
            <a:ext cx="540000" cy="5400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nchor="ctr"/>
          <a:lstStyle>
            <a:lvl1pPr algn="ctr">
              <a:lnSpc>
                <a:spcPct val="100000"/>
              </a:lnSpc>
              <a:spcAft>
                <a:spcPts val="0"/>
              </a:spcAft>
              <a:defRPr sz="1800" b="0">
                <a:solidFill>
                  <a:schemeClr val="bg1"/>
                </a:solidFill>
              </a:defRPr>
            </a:lvl1pPr>
          </a:lstStyle>
          <a:p>
            <a:pPr lvl="0"/>
            <a:r>
              <a:rPr lang="en-GB"/>
              <a:t>##</a:t>
            </a:r>
          </a:p>
        </p:txBody>
      </p:sp>
      <p:sp>
        <p:nvSpPr>
          <p:cNvPr id="91" name="Text Placeholder 64">
            <a:extLst>
              <a:ext uri="{FF2B5EF4-FFF2-40B4-BE49-F238E27FC236}">
                <a16:creationId xmlns:a16="http://schemas.microsoft.com/office/drawing/2014/main" id="{82622A38-ACF6-40CC-A063-B7A5A8E8B068}"/>
              </a:ext>
            </a:extLst>
          </p:cNvPr>
          <p:cNvSpPr>
            <a:spLocks noGrp="1"/>
          </p:cNvSpPr>
          <p:nvPr>
            <p:ph type="body" sz="quarter" idx="22" hasCustomPrompt="1"/>
          </p:nvPr>
        </p:nvSpPr>
        <p:spPr>
          <a:xfrm>
            <a:off x="5263223" y="4091472"/>
            <a:ext cx="6341402" cy="332399"/>
          </a:xfrm>
          <a:prstGeom prst="rect">
            <a:avLst/>
          </a:prstGeom>
        </p:spPr>
        <p:txBody>
          <a:bodyPr wrap="square">
            <a:spAutoFit/>
          </a:bodyPr>
          <a:lstStyle>
            <a:lvl1pPr>
              <a:defRPr lang="en-US" sz="2400" b="0" kern="1200" dirty="0" smtClean="0">
                <a:solidFill>
                  <a:schemeClr val="tx2"/>
                </a:solidFill>
                <a:latin typeface="+mn-lt"/>
                <a:ea typeface="+mn-ea"/>
                <a:cs typeface="+mn-cs"/>
              </a:defRPr>
            </a:lvl1pPr>
          </a:lstStyle>
          <a:p>
            <a:pPr lvl="0"/>
            <a:r>
              <a:rPr lang="en-US"/>
              <a:t>Agenda item 5</a:t>
            </a:r>
            <a:endParaRPr lang="en-GB"/>
          </a:p>
        </p:txBody>
      </p:sp>
      <p:sp>
        <p:nvSpPr>
          <p:cNvPr id="92" name="Text Placeholder 62">
            <a:extLst>
              <a:ext uri="{FF2B5EF4-FFF2-40B4-BE49-F238E27FC236}">
                <a16:creationId xmlns:a16="http://schemas.microsoft.com/office/drawing/2014/main" id="{FB31DE5F-3DEE-42DA-B448-4568DBD5BB9A}"/>
              </a:ext>
            </a:extLst>
          </p:cNvPr>
          <p:cNvSpPr>
            <a:spLocks noGrp="1" noChangeAspect="1"/>
          </p:cNvSpPr>
          <p:nvPr>
            <p:ph type="body" sz="quarter" idx="23" hasCustomPrompt="1"/>
          </p:nvPr>
        </p:nvSpPr>
        <p:spPr>
          <a:xfrm>
            <a:off x="4425556" y="4802411"/>
            <a:ext cx="540000" cy="5400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nchor="ctr"/>
          <a:lstStyle>
            <a:lvl1pPr algn="ctr">
              <a:lnSpc>
                <a:spcPct val="100000"/>
              </a:lnSpc>
              <a:spcAft>
                <a:spcPts val="0"/>
              </a:spcAft>
              <a:defRPr sz="1800" b="0">
                <a:solidFill>
                  <a:schemeClr val="bg1"/>
                </a:solidFill>
              </a:defRPr>
            </a:lvl1pPr>
          </a:lstStyle>
          <a:p>
            <a:pPr lvl="0"/>
            <a:r>
              <a:rPr lang="en-GB"/>
              <a:t>##</a:t>
            </a:r>
          </a:p>
        </p:txBody>
      </p:sp>
      <p:sp>
        <p:nvSpPr>
          <p:cNvPr id="93" name="Text Placeholder 64">
            <a:extLst>
              <a:ext uri="{FF2B5EF4-FFF2-40B4-BE49-F238E27FC236}">
                <a16:creationId xmlns:a16="http://schemas.microsoft.com/office/drawing/2014/main" id="{65DAB8F3-C4EB-410A-A6D4-F30B0AA50BFA}"/>
              </a:ext>
            </a:extLst>
          </p:cNvPr>
          <p:cNvSpPr>
            <a:spLocks noGrp="1"/>
          </p:cNvSpPr>
          <p:nvPr>
            <p:ph type="body" sz="quarter" idx="24" hasCustomPrompt="1"/>
          </p:nvPr>
        </p:nvSpPr>
        <p:spPr>
          <a:xfrm>
            <a:off x="5263223" y="4906212"/>
            <a:ext cx="6341402" cy="332399"/>
          </a:xfrm>
          <a:prstGeom prst="rect">
            <a:avLst/>
          </a:prstGeom>
        </p:spPr>
        <p:txBody>
          <a:bodyPr wrap="square">
            <a:spAutoFit/>
          </a:bodyPr>
          <a:lstStyle>
            <a:lvl1pPr>
              <a:defRPr lang="en-US" sz="2400" b="0" kern="1200" dirty="0" smtClean="0">
                <a:solidFill>
                  <a:schemeClr val="tx2"/>
                </a:solidFill>
                <a:latin typeface="+mn-lt"/>
                <a:ea typeface="+mn-ea"/>
                <a:cs typeface="+mn-cs"/>
              </a:defRPr>
            </a:lvl1pPr>
          </a:lstStyle>
          <a:p>
            <a:pPr lvl="0"/>
            <a:r>
              <a:rPr lang="en-US"/>
              <a:t>Agenda item 6</a:t>
            </a:r>
            <a:endParaRPr lang="en-GB"/>
          </a:p>
        </p:txBody>
      </p:sp>
      <p:sp>
        <p:nvSpPr>
          <p:cNvPr id="94" name="Text Placeholder 62">
            <a:extLst>
              <a:ext uri="{FF2B5EF4-FFF2-40B4-BE49-F238E27FC236}">
                <a16:creationId xmlns:a16="http://schemas.microsoft.com/office/drawing/2014/main" id="{40B27771-5342-48F3-B10D-7C1072E4C1D4}"/>
              </a:ext>
            </a:extLst>
          </p:cNvPr>
          <p:cNvSpPr>
            <a:spLocks noGrp="1" noChangeAspect="1"/>
          </p:cNvSpPr>
          <p:nvPr>
            <p:ph type="body" sz="quarter" idx="25" hasCustomPrompt="1"/>
          </p:nvPr>
        </p:nvSpPr>
        <p:spPr>
          <a:xfrm>
            <a:off x="4425556" y="5617151"/>
            <a:ext cx="540000" cy="5400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nchor="ctr"/>
          <a:lstStyle>
            <a:lvl1pPr algn="ctr">
              <a:lnSpc>
                <a:spcPct val="100000"/>
              </a:lnSpc>
              <a:spcAft>
                <a:spcPts val="0"/>
              </a:spcAft>
              <a:defRPr sz="1800" b="0">
                <a:solidFill>
                  <a:schemeClr val="bg1"/>
                </a:solidFill>
              </a:defRPr>
            </a:lvl1pPr>
          </a:lstStyle>
          <a:p>
            <a:pPr lvl="0"/>
            <a:r>
              <a:rPr lang="en-GB"/>
              <a:t>##</a:t>
            </a:r>
          </a:p>
        </p:txBody>
      </p:sp>
      <p:sp>
        <p:nvSpPr>
          <p:cNvPr id="95" name="Text Placeholder 64">
            <a:extLst>
              <a:ext uri="{FF2B5EF4-FFF2-40B4-BE49-F238E27FC236}">
                <a16:creationId xmlns:a16="http://schemas.microsoft.com/office/drawing/2014/main" id="{4093FA1C-3944-439B-8CA8-174326DBCEE0}"/>
              </a:ext>
            </a:extLst>
          </p:cNvPr>
          <p:cNvSpPr>
            <a:spLocks noGrp="1"/>
          </p:cNvSpPr>
          <p:nvPr>
            <p:ph type="body" sz="quarter" idx="26" hasCustomPrompt="1"/>
          </p:nvPr>
        </p:nvSpPr>
        <p:spPr>
          <a:xfrm>
            <a:off x="5263223" y="5720952"/>
            <a:ext cx="6341402" cy="332399"/>
          </a:xfrm>
          <a:prstGeom prst="rect">
            <a:avLst/>
          </a:prstGeom>
        </p:spPr>
        <p:txBody>
          <a:bodyPr wrap="square">
            <a:spAutoFit/>
          </a:bodyPr>
          <a:lstStyle>
            <a:lvl1pPr>
              <a:defRPr lang="en-US" sz="2400" b="0" kern="1200" dirty="0" smtClean="0">
                <a:solidFill>
                  <a:schemeClr val="tx2"/>
                </a:solidFill>
                <a:latin typeface="+mn-lt"/>
                <a:ea typeface="+mn-ea"/>
                <a:cs typeface="+mn-cs"/>
              </a:defRPr>
            </a:lvl1pPr>
          </a:lstStyle>
          <a:p>
            <a:pPr lvl="0"/>
            <a:r>
              <a:rPr lang="en-US"/>
              <a:t>Agenda item 7</a:t>
            </a:r>
            <a:endParaRPr lang="en-GB"/>
          </a:p>
        </p:txBody>
      </p:sp>
      <p:sp>
        <p:nvSpPr>
          <p:cNvPr id="125" name="Footer Placeholder 4">
            <a:extLst>
              <a:ext uri="{FF2B5EF4-FFF2-40B4-BE49-F238E27FC236}">
                <a16:creationId xmlns:a16="http://schemas.microsoft.com/office/drawing/2014/main" id="{A61C5876-D72C-4BCA-847D-EC9A2ADDCC01}"/>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pic>
        <p:nvPicPr>
          <p:cNvPr id="126" name="Picture 125">
            <a:extLst>
              <a:ext uri="{FF2B5EF4-FFF2-40B4-BE49-F238E27FC236}">
                <a16:creationId xmlns:a16="http://schemas.microsoft.com/office/drawing/2014/main" id="{55A30AE6-FE7B-9F47-BD36-C3E4AB6374C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4704" y="5796874"/>
            <a:ext cx="780446" cy="843874"/>
          </a:xfrm>
          <a:prstGeom prst="rect">
            <a:avLst/>
          </a:prstGeom>
        </p:spPr>
      </p:pic>
    </p:spTree>
    <p:extLst>
      <p:ext uri="{BB962C8B-B14F-4D97-AF65-F5344CB8AC3E}">
        <p14:creationId xmlns:p14="http://schemas.microsoft.com/office/powerpoint/2010/main" val="948649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B11D287-D165-4BC7-AD0A-6C1F8ACE2230}"/>
              </a:ext>
            </a:extLst>
          </p:cNvPr>
          <p:cNvSpPr/>
          <p:nvPr/>
        </p:nvSpPr>
        <p:spPr>
          <a:xfrm>
            <a:off x="0" y="1442243"/>
            <a:ext cx="12192000" cy="396081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8" name="Freeform: Shape 7">
            <a:extLst>
              <a:ext uri="{FF2B5EF4-FFF2-40B4-BE49-F238E27FC236}">
                <a16:creationId xmlns:a16="http://schemas.microsoft.com/office/drawing/2014/main" id="{BB65DF1F-030D-46F3-993A-B1C1FE6042D9}"/>
              </a:ext>
            </a:extLst>
          </p:cNvPr>
          <p:cNvSpPr>
            <a:spLocks/>
          </p:cNvSpPr>
          <p:nvPr/>
        </p:nvSpPr>
        <p:spPr bwMode="auto">
          <a:xfrm>
            <a:off x="8855787" y="1909382"/>
            <a:ext cx="3348913" cy="3506376"/>
          </a:xfrm>
          <a:custGeom>
            <a:avLst/>
            <a:gdLst>
              <a:gd name="connsiteX0" fmla="*/ 1715698 w 4997428"/>
              <a:gd name="connsiteY0" fmla="*/ 3352613 h 5232402"/>
              <a:gd name="connsiteX1" fmla="*/ 2156976 w 4997428"/>
              <a:gd name="connsiteY1" fmla="*/ 4593909 h 5232402"/>
              <a:gd name="connsiteX2" fmla="*/ 2675550 w 4997428"/>
              <a:gd name="connsiteY2" fmla="*/ 5232402 h 5232402"/>
              <a:gd name="connsiteX3" fmla="*/ 1556212 w 4997428"/>
              <a:gd name="connsiteY3" fmla="*/ 5232402 h 5232402"/>
              <a:gd name="connsiteX4" fmla="*/ 33267 w 4997428"/>
              <a:gd name="connsiteY4" fmla="*/ 4501998 h 5232402"/>
              <a:gd name="connsiteX5" fmla="*/ 32778 w 4997428"/>
              <a:gd name="connsiteY5" fmla="*/ 4501509 h 5232402"/>
              <a:gd name="connsiteX6" fmla="*/ 0 w 4997428"/>
              <a:gd name="connsiteY6" fmla="*/ 4392486 h 5232402"/>
              <a:gd name="connsiteX7" fmla="*/ 77786 w 4997428"/>
              <a:gd name="connsiteY7" fmla="*/ 4231641 h 5232402"/>
              <a:gd name="connsiteX8" fmla="*/ 150191 w 4997428"/>
              <a:gd name="connsiteY8" fmla="*/ 4183240 h 5232402"/>
              <a:gd name="connsiteX9" fmla="*/ 150680 w 4997428"/>
              <a:gd name="connsiteY9" fmla="*/ 4182752 h 5232402"/>
              <a:gd name="connsiteX10" fmla="*/ 151170 w 4997428"/>
              <a:gd name="connsiteY10" fmla="*/ 4182263 h 5232402"/>
              <a:gd name="connsiteX11" fmla="*/ 300382 w 4997428"/>
              <a:gd name="connsiteY11" fmla="*/ 4080573 h 5232402"/>
              <a:gd name="connsiteX12" fmla="*/ 353707 w 4997428"/>
              <a:gd name="connsiteY12" fmla="*/ 4045862 h 5232402"/>
              <a:gd name="connsiteX13" fmla="*/ 1076776 w 4997428"/>
              <a:gd name="connsiteY13" fmla="*/ 3635682 h 5232402"/>
              <a:gd name="connsiteX14" fmla="*/ 1715698 w 4997428"/>
              <a:gd name="connsiteY14" fmla="*/ 3352613 h 5232402"/>
              <a:gd name="connsiteX15" fmla="*/ 863321 w 4997428"/>
              <a:gd name="connsiteY15" fmla="*/ 2153521 h 5232402"/>
              <a:gd name="connsiteX16" fmla="*/ 947042 w 4997428"/>
              <a:gd name="connsiteY16" fmla="*/ 2154010 h 5232402"/>
              <a:gd name="connsiteX17" fmla="*/ 1593308 w 4997428"/>
              <a:gd name="connsiteY17" fmla="*/ 2189739 h 5232402"/>
              <a:gd name="connsiteX18" fmla="*/ 1677518 w 4997428"/>
              <a:gd name="connsiteY18" fmla="*/ 3136317 h 5232402"/>
              <a:gd name="connsiteX19" fmla="*/ 974949 w 4997428"/>
              <a:gd name="connsiteY19" fmla="*/ 3444665 h 5232402"/>
              <a:gd name="connsiteX20" fmla="*/ 428560 w 4997428"/>
              <a:gd name="connsiteY20" fmla="*/ 2363980 h 5232402"/>
              <a:gd name="connsiteX21" fmla="*/ 460384 w 4997428"/>
              <a:gd name="connsiteY21" fmla="*/ 2250430 h 5232402"/>
              <a:gd name="connsiteX22" fmla="*/ 616075 w 4997428"/>
              <a:gd name="connsiteY22" fmla="*/ 2157926 h 5232402"/>
              <a:gd name="connsiteX23" fmla="*/ 863321 w 4997428"/>
              <a:gd name="connsiteY23" fmla="*/ 2153521 h 5232402"/>
              <a:gd name="connsiteX24" fmla="*/ 3345492 w 4997428"/>
              <a:gd name="connsiteY24" fmla="*/ 1662983 h 5232402"/>
              <a:gd name="connsiteX25" fmla="*/ 3391977 w 4997428"/>
              <a:gd name="connsiteY25" fmla="*/ 1682541 h 5232402"/>
              <a:gd name="connsiteX26" fmla="*/ 3439930 w 4997428"/>
              <a:gd name="connsiteY26" fmla="*/ 1722147 h 5232402"/>
              <a:gd name="connsiteX27" fmla="*/ 3577428 w 4997428"/>
              <a:gd name="connsiteY27" fmla="*/ 1839987 h 5232402"/>
              <a:gd name="connsiteX28" fmla="*/ 4022218 w 4997428"/>
              <a:gd name="connsiteY28" fmla="*/ 2282497 h 5232402"/>
              <a:gd name="connsiteX29" fmla="*/ 4935285 w 4997428"/>
              <a:gd name="connsiteY29" fmla="*/ 3795833 h 5232402"/>
              <a:gd name="connsiteX30" fmla="*/ 4997428 w 4997428"/>
              <a:gd name="connsiteY30" fmla="*/ 4005598 h 5232402"/>
              <a:gd name="connsiteX31" fmla="*/ 4997428 w 4997428"/>
              <a:gd name="connsiteY31" fmla="*/ 5232402 h 5232402"/>
              <a:gd name="connsiteX32" fmla="*/ 3778538 w 4997428"/>
              <a:gd name="connsiteY32" fmla="*/ 5232402 h 5232402"/>
              <a:gd name="connsiteX33" fmla="*/ 3309772 w 4997428"/>
              <a:gd name="connsiteY33" fmla="*/ 4529764 h 5232402"/>
              <a:gd name="connsiteX34" fmla="*/ 3134596 w 4997428"/>
              <a:gd name="connsiteY34" fmla="*/ 3215925 h 5232402"/>
              <a:gd name="connsiteX35" fmla="*/ 3263287 w 4997428"/>
              <a:gd name="connsiteY35" fmla="*/ 1857590 h 5232402"/>
              <a:gd name="connsiteX36" fmla="*/ 3286774 w 4997428"/>
              <a:gd name="connsiteY36" fmla="*/ 1742195 h 5232402"/>
              <a:gd name="connsiteX37" fmla="*/ 3345492 w 4997428"/>
              <a:gd name="connsiteY37" fmla="*/ 1662983 h 5232402"/>
              <a:gd name="connsiteX38" fmla="*/ 1985716 w 4997428"/>
              <a:gd name="connsiteY38" fmla="*/ 829675 h 5232402"/>
              <a:gd name="connsiteX39" fmla="*/ 2042469 w 4997428"/>
              <a:gd name="connsiteY39" fmla="*/ 842388 h 5232402"/>
              <a:gd name="connsiteX40" fmla="*/ 2043448 w 4997428"/>
              <a:gd name="connsiteY40" fmla="*/ 842877 h 5232402"/>
              <a:gd name="connsiteX41" fmla="*/ 2043937 w 4997428"/>
              <a:gd name="connsiteY41" fmla="*/ 842877 h 5232402"/>
              <a:gd name="connsiteX42" fmla="*/ 2127599 w 4997428"/>
              <a:gd name="connsiteY42" fmla="*/ 878572 h 5232402"/>
              <a:gd name="connsiteX43" fmla="*/ 2337487 w 4997428"/>
              <a:gd name="connsiteY43" fmla="*/ 973433 h 5232402"/>
              <a:gd name="connsiteX44" fmla="*/ 2367820 w 4997428"/>
              <a:gd name="connsiteY44" fmla="*/ 987614 h 5232402"/>
              <a:gd name="connsiteX45" fmla="*/ 3151109 w 4997428"/>
              <a:gd name="connsiteY45" fmla="*/ 1421823 h 5232402"/>
              <a:gd name="connsiteX46" fmla="*/ 3235749 w 4997428"/>
              <a:gd name="connsiteY46" fmla="*/ 1474632 h 5232402"/>
              <a:gd name="connsiteX47" fmla="*/ 3077722 w 4997428"/>
              <a:gd name="connsiteY47" fmla="*/ 1695160 h 5232402"/>
              <a:gd name="connsiteX48" fmla="*/ 3075765 w 4997428"/>
              <a:gd name="connsiteY48" fmla="*/ 1705428 h 5232402"/>
              <a:gd name="connsiteX49" fmla="*/ 2920183 w 4997428"/>
              <a:gd name="connsiteY49" fmla="*/ 3215871 h 5232402"/>
              <a:gd name="connsiteX50" fmla="*/ 3104141 w 4997428"/>
              <a:gd name="connsiteY50" fmla="*/ 4592334 h 5232402"/>
              <a:gd name="connsiteX51" fmla="*/ 3470100 w 4997428"/>
              <a:gd name="connsiteY51" fmla="*/ 5232402 h 5232402"/>
              <a:gd name="connsiteX52" fmla="*/ 3038092 w 4997428"/>
              <a:gd name="connsiteY52" fmla="*/ 5232402 h 5232402"/>
              <a:gd name="connsiteX53" fmla="*/ 2341890 w 4997428"/>
              <a:gd name="connsiteY53" fmla="*/ 4487205 h 5232402"/>
              <a:gd name="connsiteX54" fmla="*/ 1804694 w 4997428"/>
              <a:gd name="connsiteY54" fmla="*/ 1983166 h 5232402"/>
              <a:gd name="connsiteX55" fmla="*/ 1838941 w 4997428"/>
              <a:gd name="connsiteY55" fmla="*/ 1229656 h 5232402"/>
              <a:gd name="connsiteX56" fmla="*/ 1870743 w 4997428"/>
              <a:gd name="connsiteY56" fmla="*/ 939205 h 5232402"/>
              <a:gd name="connsiteX57" fmla="*/ 1985716 w 4997428"/>
              <a:gd name="connsiteY57" fmla="*/ 829675 h 5232402"/>
              <a:gd name="connsiteX58" fmla="*/ 3454840 w 4997428"/>
              <a:gd name="connsiteY58" fmla="*/ 225284 h 5232402"/>
              <a:gd name="connsiteX59" fmla="*/ 3475877 w 4997428"/>
              <a:gd name="connsiteY59" fmla="*/ 226752 h 5232402"/>
              <a:gd name="connsiteX60" fmla="*/ 3476366 w 4997428"/>
              <a:gd name="connsiteY60" fmla="*/ 227241 h 5232402"/>
              <a:gd name="connsiteX61" fmla="*/ 3477345 w 4997428"/>
              <a:gd name="connsiteY61" fmla="*/ 227241 h 5232402"/>
              <a:gd name="connsiteX62" fmla="*/ 3527736 w 4997428"/>
              <a:gd name="connsiteY62" fmla="*/ 247791 h 5232402"/>
              <a:gd name="connsiteX63" fmla="*/ 3528226 w 4997428"/>
              <a:gd name="connsiteY63" fmla="*/ 248280 h 5232402"/>
              <a:gd name="connsiteX64" fmla="*/ 3529204 w 4997428"/>
              <a:gd name="connsiteY64" fmla="*/ 248769 h 5232402"/>
              <a:gd name="connsiteX65" fmla="*/ 3826172 w 4997428"/>
              <a:gd name="connsiteY65" fmla="*/ 449371 h 5232402"/>
              <a:gd name="connsiteX66" fmla="*/ 4276762 w 4997428"/>
              <a:gd name="connsiteY66" fmla="*/ 798712 h 5232402"/>
              <a:gd name="connsiteX67" fmla="*/ 3902494 w 4997428"/>
              <a:gd name="connsiteY67" fmla="*/ 1684785 h 5232402"/>
              <a:gd name="connsiteX68" fmla="*/ 3130963 w 4997428"/>
              <a:gd name="connsiteY68" fmla="*/ 1155881 h 5232402"/>
              <a:gd name="connsiteX69" fmla="*/ 3342314 w 4997428"/>
              <a:gd name="connsiteY69" fmla="*/ 323139 h 5232402"/>
              <a:gd name="connsiteX70" fmla="*/ 3345250 w 4997428"/>
              <a:gd name="connsiteY70" fmla="*/ 314332 h 5232402"/>
              <a:gd name="connsiteX71" fmla="*/ 3454840 w 4997428"/>
              <a:gd name="connsiteY71" fmla="*/ 225284 h 5232402"/>
              <a:gd name="connsiteX72" fmla="*/ 4997428 w 4997428"/>
              <a:gd name="connsiteY72" fmla="*/ 0 h 5232402"/>
              <a:gd name="connsiteX73" fmla="*/ 4996450 w 4997428"/>
              <a:gd name="connsiteY73" fmla="*/ 3311432 h 5232402"/>
              <a:gd name="connsiteX74" fmla="*/ 4030887 w 4997428"/>
              <a:gd name="connsiteY74" fmla="*/ 1977273 h 5232402"/>
              <a:gd name="connsiteX75" fmla="*/ 4879116 w 4997428"/>
              <a:gd name="connsiteY75" fmla="*/ 134003 h 5232402"/>
              <a:gd name="connsiteX76" fmla="*/ 4930450 w 4997428"/>
              <a:gd name="connsiteY76" fmla="*/ 52819 h 5232402"/>
              <a:gd name="connsiteX77" fmla="*/ 4997428 w 4997428"/>
              <a:gd name="connsiteY77" fmla="*/ 0 h 5232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4997428" h="5232402">
                <a:moveTo>
                  <a:pt x="1715698" y="3352613"/>
                </a:moveTo>
                <a:cubicBezTo>
                  <a:pt x="1810607" y="3830261"/>
                  <a:pt x="1959330" y="4247774"/>
                  <a:pt x="2156976" y="4593909"/>
                </a:cubicBezTo>
                <a:cubicBezTo>
                  <a:pt x="2304231" y="4852533"/>
                  <a:pt x="2477905" y="5065201"/>
                  <a:pt x="2675550" y="5232402"/>
                </a:cubicBezTo>
                <a:cubicBezTo>
                  <a:pt x="2675550" y="5232402"/>
                  <a:pt x="2675550" y="5232402"/>
                  <a:pt x="1556212" y="5232402"/>
                </a:cubicBezTo>
                <a:cubicBezTo>
                  <a:pt x="445191" y="4978667"/>
                  <a:pt x="81700" y="4563598"/>
                  <a:pt x="33267" y="4501998"/>
                </a:cubicBezTo>
                <a:cubicBezTo>
                  <a:pt x="33267" y="4501998"/>
                  <a:pt x="33267" y="4501998"/>
                  <a:pt x="32778" y="4501509"/>
                </a:cubicBezTo>
                <a:cubicBezTo>
                  <a:pt x="10763" y="4468264"/>
                  <a:pt x="0" y="4431597"/>
                  <a:pt x="0" y="4392486"/>
                </a:cubicBezTo>
                <a:cubicBezTo>
                  <a:pt x="0" y="4328930"/>
                  <a:pt x="29843" y="4267330"/>
                  <a:pt x="77786" y="4231641"/>
                </a:cubicBezTo>
                <a:cubicBezTo>
                  <a:pt x="77786" y="4231641"/>
                  <a:pt x="103715" y="4214529"/>
                  <a:pt x="150191" y="4183240"/>
                </a:cubicBezTo>
                <a:cubicBezTo>
                  <a:pt x="150191" y="4183240"/>
                  <a:pt x="150191" y="4183240"/>
                  <a:pt x="150680" y="4182752"/>
                </a:cubicBezTo>
                <a:cubicBezTo>
                  <a:pt x="150680" y="4182752"/>
                  <a:pt x="150680" y="4182752"/>
                  <a:pt x="151170" y="4182263"/>
                </a:cubicBezTo>
                <a:cubicBezTo>
                  <a:pt x="186393" y="4155862"/>
                  <a:pt x="236783" y="4122618"/>
                  <a:pt x="300382" y="4080573"/>
                </a:cubicBezTo>
                <a:cubicBezTo>
                  <a:pt x="317505" y="4069818"/>
                  <a:pt x="335117" y="4058084"/>
                  <a:pt x="353707" y="4045862"/>
                </a:cubicBezTo>
                <a:cubicBezTo>
                  <a:pt x="511725" y="3944661"/>
                  <a:pt x="765631" y="3791149"/>
                  <a:pt x="1076776" y="3635682"/>
                </a:cubicBezTo>
                <a:cubicBezTo>
                  <a:pt x="1292033" y="3527148"/>
                  <a:pt x="1506801" y="3431814"/>
                  <a:pt x="1715698" y="3352613"/>
                </a:cubicBezTo>
                <a:close/>
                <a:moveTo>
                  <a:pt x="863321" y="2153521"/>
                </a:moveTo>
                <a:cubicBezTo>
                  <a:pt x="889759" y="2153521"/>
                  <a:pt x="917666" y="2153521"/>
                  <a:pt x="947042" y="2154010"/>
                </a:cubicBezTo>
                <a:cubicBezTo>
                  <a:pt x="1086087" y="2155479"/>
                  <a:pt x="1309832" y="2163310"/>
                  <a:pt x="1593308" y="2189739"/>
                </a:cubicBezTo>
                <a:cubicBezTo>
                  <a:pt x="1601141" y="2514728"/>
                  <a:pt x="1629538" y="2832864"/>
                  <a:pt x="1677518" y="3136317"/>
                </a:cubicBezTo>
                <a:cubicBezTo>
                  <a:pt x="1448877" y="3222948"/>
                  <a:pt x="1212892" y="3326710"/>
                  <a:pt x="974949" y="3444665"/>
                </a:cubicBezTo>
                <a:cubicBezTo>
                  <a:pt x="510323" y="2858805"/>
                  <a:pt x="439332" y="2469699"/>
                  <a:pt x="428560" y="2363980"/>
                </a:cubicBezTo>
                <a:cubicBezTo>
                  <a:pt x="425133" y="2327762"/>
                  <a:pt x="445207" y="2272455"/>
                  <a:pt x="460384" y="2250430"/>
                </a:cubicBezTo>
                <a:cubicBezTo>
                  <a:pt x="498083" y="2195123"/>
                  <a:pt x="554386" y="2161841"/>
                  <a:pt x="616075" y="2157926"/>
                </a:cubicBezTo>
                <a:cubicBezTo>
                  <a:pt x="616565" y="2157926"/>
                  <a:pt x="708609" y="2153521"/>
                  <a:pt x="863321" y="2153521"/>
                </a:cubicBezTo>
                <a:close/>
                <a:moveTo>
                  <a:pt x="3345492" y="1662983"/>
                </a:moveTo>
                <a:cubicBezTo>
                  <a:pt x="3359682" y="1662983"/>
                  <a:pt x="3374851" y="1669339"/>
                  <a:pt x="3391977" y="1682541"/>
                </a:cubicBezTo>
                <a:cubicBezTo>
                  <a:pt x="3392466" y="1683030"/>
                  <a:pt x="3409103" y="1695254"/>
                  <a:pt x="3439930" y="1722147"/>
                </a:cubicBezTo>
                <a:cubicBezTo>
                  <a:pt x="3471246" y="1747084"/>
                  <a:pt x="3515774" y="1785712"/>
                  <a:pt x="3577428" y="1839987"/>
                </a:cubicBezTo>
                <a:cubicBezTo>
                  <a:pt x="3659634" y="1913331"/>
                  <a:pt x="3826980" y="2067843"/>
                  <a:pt x="4022218" y="2282497"/>
                </a:cubicBezTo>
                <a:cubicBezTo>
                  <a:pt x="4330978" y="2626237"/>
                  <a:pt x="4740536" y="3168006"/>
                  <a:pt x="4935285" y="3795833"/>
                </a:cubicBezTo>
                <a:cubicBezTo>
                  <a:pt x="4960240" y="3876512"/>
                  <a:pt x="4978345" y="3929320"/>
                  <a:pt x="4997428" y="4005598"/>
                </a:cubicBezTo>
                <a:cubicBezTo>
                  <a:pt x="4997428" y="4005598"/>
                  <a:pt x="4997428" y="4005598"/>
                  <a:pt x="4997428" y="5232402"/>
                </a:cubicBezTo>
                <a:cubicBezTo>
                  <a:pt x="4997428" y="5232402"/>
                  <a:pt x="4997428" y="5232402"/>
                  <a:pt x="3778538" y="5232402"/>
                </a:cubicBezTo>
                <a:cubicBezTo>
                  <a:pt x="3580364" y="5068600"/>
                  <a:pt x="3405189" y="4836343"/>
                  <a:pt x="3309772" y="4529764"/>
                </a:cubicBezTo>
                <a:cubicBezTo>
                  <a:pt x="3193803" y="4155220"/>
                  <a:pt x="3134596" y="3713199"/>
                  <a:pt x="3134596" y="3215925"/>
                </a:cubicBezTo>
                <a:cubicBezTo>
                  <a:pt x="3134596" y="2598366"/>
                  <a:pt x="3224630" y="2060509"/>
                  <a:pt x="3263287" y="1857590"/>
                </a:cubicBezTo>
                <a:cubicBezTo>
                  <a:pt x="3277966" y="1783267"/>
                  <a:pt x="3286774" y="1742195"/>
                  <a:pt x="3286774" y="1742195"/>
                </a:cubicBezTo>
                <a:cubicBezTo>
                  <a:pt x="3296071" y="1706989"/>
                  <a:pt x="3313686" y="1662983"/>
                  <a:pt x="3345492" y="1662983"/>
                </a:cubicBezTo>
                <a:close/>
                <a:moveTo>
                  <a:pt x="1985716" y="829675"/>
                </a:moveTo>
                <a:cubicBezTo>
                  <a:pt x="1997948" y="829675"/>
                  <a:pt x="2017518" y="832120"/>
                  <a:pt x="2042469" y="842388"/>
                </a:cubicBezTo>
                <a:cubicBezTo>
                  <a:pt x="2042469" y="842388"/>
                  <a:pt x="2042469" y="842388"/>
                  <a:pt x="2043448" y="842877"/>
                </a:cubicBezTo>
                <a:cubicBezTo>
                  <a:pt x="2043448" y="842877"/>
                  <a:pt x="2043448" y="842877"/>
                  <a:pt x="2043937" y="842877"/>
                </a:cubicBezTo>
                <a:cubicBezTo>
                  <a:pt x="2044426" y="842877"/>
                  <a:pt x="2073781" y="853635"/>
                  <a:pt x="2127599" y="878572"/>
                </a:cubicBezTo>
                <a:cubicBezTo>
                  <a:pt x="2179949" y="899598"/>
                  <a:pt x="2249422" y="932360"/>
                  <a:pt x="2337487" y="973433"/>
                </a:cubicBezTo>
                <a:cubicBezTo>
                  <a:pt x="2337487" y="973433"/>
                  <a:pt x="2337487" y="973433"/>
                  <a:pt x="2367820" y="987614"/>
                </a:cubicBezTo>
                <a:cubicBezTo>
                  <a:pt x="2638376" y="1118659"/>
                  <a:pt x="2902081" y="1264862"/>
                  <a:pt x="3151109" y="1421823"/>
                </a:cubicBezTo>
                <a:cubicBezTo>
                  <a:pt x="3179486" y="1437959"/>
                  <a:pt x="3207862" y="1456051"/>
                  <a:pt x="3235749" y="1474632"/>
                </a:cubicBezTo>
                <a:cubicBezTo>
                  <a:pt x="3158937" y="1513261"/>
                  <a:pt x="3099738" y="1594431"/>
                  <a:pt x="3077722" y="1695160"/>
                </a:cubicBezTo>
                <a:cubicBezTo>
                  <a:pt x="3077232" y="1698094"/>
                  <a:pt x="3076743" y="1701028"/>
                  <a:pt x="3075765" y="1705428"/>
                </a:cubicBezTo>
                <a:cubicBezTo>
                  <a:pt x="3039560" y="1877547"/>
                  <a:pt x="2920183" y="2495122"/>
                  <a:pt x="2920183" y="3215871"/>
                </a:cubicBezTo>
                <a:cubicBezTo>
                  <a:pt x="2920183" y="3734673"/>
                  <a:pt x="2982318" y="4197732"/>
                  <a:pt x="3104141" y="4592334"/>
                </a:cubicBezTo>
                <a:cubicBezTo>
                  <a:pt x="3191228" y="4868116"/>
                  <a:pt x="3328218" y="5076419"/>
                  <a:pt x="3470100" y="5232402"/>
                </a:cubicBezTo>
                <a:cubicBezTo>
                  <a:pt x="3470100" y="5232402"/>
                  <a:pt x="3470100" y="5232402"/>
                  <a:pt x="3038092" y="5232402"/>
                </a:cubicBezTo>
                <a:cubicBezTo>
                  <a:pt x="2771451" y="5072997"/>
                  <a:pt x="2534165" y="4821663"/>
                  <a:pt x="2341890" y="4487205"/>
                </a:cubicBezTo>
                <a:cubicBezTo>
                  <a:pt x="1897651" y="3710224"/>
                  <a:pt x="1804694" y="2696580"/>
                  <a:pt x="1804694" y="1983166"/>
                </a:cubicBezTo>
                <a:cubicBezTo>
                  <a:pt x="1804694" y="1730366"/>
                  <a:pt x="1815947" y="1477077"/>
                  <a:pt x="1838941" y="1229656"/>
                </a:cubicBezTo>
                <a:cubicBezTo>
                  <a:pt x="1855576" y="1048246"/>
                  <a:pt x="1870743" y="940183"/>
                  <a:pt x="1870743" y="939205"/>
                </a:cubicBezTo>
                <a:cubicBezTo>
                  <a:pt x="1884442" y="867815"/>
                  <a:pt x="1922114" y="831631"/>
                  <a:pt x="1985716" y="829675"/>
                </a:cubicBezTo>
                <a:close/>
                <a:moveTo>
                  <a:pt x="3454840" y="225284"/>
                </a:moveTo>
                <a:cubicBezTo>
                  <a:pt x="3461689" y="225284"/>
                  <a:pt x="3468538" y="225773"/>
                  <a:pt x="3475877" y="226752"/>
                </a:cubicBezTo>
                <a:cubicBezTo>
                  <a:pt x="3475877" y="226752"/>
                  <a:pt x="3475877" y="226752"/>
                  <a:pt x="3476366" y="227241"/>
                </a:cubicBezTo>
                <a:cubicBezTo>
                  <a:pt x="3476366" y="227241"/>
                  <a:pt x="3476366" y="227241"/>
                  <a:pt x="3477345" y="227241"/>
                </a:cubicBezTo>
                <a:cubicBezTo>
                  <a:pt x="3493490" y="228709"/>
                  <a:pt x="3510613" y="235559"/>
                  <a:pt x="3527736" y="247791"/>
                </a:cubicBezTo>
                <a:cubicBezTo>
                  <a:pt x="3527736" y="247791"/>
                  <a:pt x="3527736" y="247791"/>
                  <a:pt x="3528226" y="248280"/>
                </a:cubicBezTo>
                <a:cubicBezTo>
                  <a:pt x="3528226" y="248280"/>
                  <a:pt x="3528226" y="248280"/>
                  <a:pt x="3529204" y="248769"/>
                </a:cubicBezTo>
                <a:cubicBezTo>
                  <a:pt x="3530182" y="249259"/>
                  <a:pt x="3646621" y="320692"/>
                  <a:pt x="3826172" y="449371"/>
                </a:cubicBezTo>
                <a:cubicBezTo>
                  <a:pt x="3925488" y="520805"/>
                  <a:pt x="4083512" y="638719"/>
                  <a:pt x="4276762" y="798712"/>
                </a:cubicBezTo>
                <a:cubicBezTo>
                  <a:pt x="4136350" y="1090318"/>
                  <a:pt x="4010616" y="1388285"/>
                  <a:pt x="3902494" y="1684785"/>
                </a:cubicBezTo>
                <a:cubicBezTo>
                  <a:pt x="3671573" y="1502775"/>
                  <a:pt x="3418636" y="1329573"/>
                  <a:pt x="3130963" y="1155881"/>
                </a:cubicBezTo>
                <a:cubicBezTo>
                  <a:pt x="3212666" y="743913"/>
                  <a:pt x="3305622" y="437139"/>
                  <a:pt x="3342314" y="323139"/>
                </a:cubicBezTo>
                <a:cubicBezTo>
                  <a:pt x="3343782" y="319224"/>
                  <a:pt x="3344271" y="316778"/>
                  <a:pt x="3345250" y="314332"/>
                </a:cubicBezTo>
                <a:cubicBezTo>
                  <a:pt x="3367755" y="255130"/>
                  <a:pt x="3404448" y="225284"/>
                  <a:pt x="3454840" y="225284"/>
                </a:cubicBezTo>
                <a:close/>
                <a:moveTo>
                  <a:pt x="4997428" y="0"/>
                </a:moveTo>
                <a:cubicBezTo>
                  <a:pt x="4997428" y="0"/>
                  <a:pt x="4997428" y="0"/>
                  <a:pt x="4996450" y="3311432"/>
                </a:cubicBezTo>
                <a:cubicBezTo>
                  <a:pt x="4786715" y="2861007"/>
                  <a:pt x="4449868" y="2413516"/>
                  <a:pt x="4030887" y="1977273"/>
                </a:cubicBezTo>
                <a:cubicBezTo>
                  <a:pt x="4316889" y="1108212"/>
                  <a:pt x="4718759" y="399563"/>
                  <a:pt x="4879116" y="134003"/>
                </a:cubicBezTo>
                <a:cubicBezTo>
                  <a:pt x="4912850" y="80695"/>
                  <a:pt x="4930450" y="52819"/>
                  <a:pt x="4930450" y="52819"/>
                </a:cubicBezTo>
                <a:cubicBezTo>
                  <a:pt x="4962717" y="3912"/>
                  <a:pt x="4989606" y="0"/>
                  <a:pt x="4997428" y="0"/>
                </a:cubicBezTo>
                <a:close/>
              </a:path>
            </a:pathLst>
          </a:custGeom>
          <a:noFill/>
          <a:ln>
            <a:solidFill>
              <a:schemeClr val="bg1">
                <a:alpha val="80000"/>
              </a:schemeClr>
            </a:solidFill>
          </a:ln>
        </p:spPr>
        <p:txBody>
          <a:bodyPr vert="horz" wrap="square" lIns="91440" tIns="45720" rIns="91440" bIns="45720" numCol="1" anchor="t" anchorCtr="0" compatLnSpc="1">
            <a:prstTxWarp prst="textNoShape">
              <a:avLst/>
            </a:prstTxWarp>
            <a:noAutofit/>
          </a:bodyPr>
          <a:lstStyle/>
          <a:p>
            <a:endParaRPr lang="en-GB"/>
          </a:p>
        </p:txBody>
      </p:sp>
      <p:sp>
        <p:nvSpPr>
          <p:cNvPr id="9" name="Rectangle 8">
            <a:extLst>
              <a:ext uri="{FF2B5EF4-FFF2-40B4-BE49-F238E27FC236}">
                <a16:creationId xmlns:a16="http://schemas.microsoft.com/office/drawing/2014/main" id="{C7BA48F4-1AFA-43EE-B631-A50D560EF80E}"/>
              </a:ext>
            </a:extLst>
          </p:cNvPr>
          <p:cNvSpPr/>
          <p:nvPr/>
        </p:nvSpPr>
        <p:spPr>
          <a:xfrm>
            <a:off x="0" y="5331056"/>
            <a:ext cx="12192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 name="Slide Number Placeholder 6">
            <a:extLst>
              <a:ext uri="{FF2B5EF4-FFF2-40B4-BE49-F238E27FC236}">
                <a16:creationId xmlns:a16="http://schemas.microsoft.com/office/drawing/2014/main" id="{FCA175EE-CBAD-40B8-B774-293E97D267D1}"/>
              </a:ext>
            </a:extLst>
          </p:cNvPr>
          <p:cNvSpPr>
            <a:spLocks noGrp="1"/>
          </p:cNvSpPr>
          <p:nvPr>
            <p:ph type="sldNum" sz="quarter" idx="11"/>
          </p:nvPr>
        </p:nvSpPr>
        <p:spPr/>
        <p:txBody>
          <a:bodyPr/>
          <a:lstStyle/>
          <a:p>
            <a:fld id="{330EA680-D336-4FF7-8B7A-9848BB0A1C32}" type="slidenum">
              <a:rPr lang="en-US" smtClean="0"/>
              <a:t>‹#›</a:t>
            </a:fld>
            <a:endParaRPr lang="en-US"/>
          </a:p>
        </p:txBody>
      </p:sp>
      <p:sp>
        <p:nvSpPr>
          <p:cNvPr id="4" name="Text Placeholder 3">
            <a:extLst>
              <a:ext uri="{FF2B5EF4-FFF2-40B4-BE49-F238E27FC236}">
                <a16:creationId xmlns:a16="http://schemas.microsoft.com/office/drawing/2014/main" id="{BBABE757-02F2-4120-86A6-75C90458280C}"/>
              </a:ext>
            </a:extLst>
          </p:cNvPr>
          <p:cNvSpPr>
            <a:spLocks noGrp="1"/>
          </p:cNvSpPr>
          <p:nvPr>
            <p:ph type="body" sz="quarter" idx="12"/>
          </p:nvPr>
        </p:nvSpPr>
        <p:spPr>
          <a:xfrm>
            <a:off x="593276" y="2886092"/>
            <a:ext cx="6408000" cy="1073114"/>
          </a:xfrm>
          <a:prstGeom prst="rect">
            <a:avLst/>
          </a:prstGeom>
        </p:spPr>
        <p:txBody>
          <a:bodyPr anchor="ctr">
            <a:spAutoFit/>
          </a:bodyPr>
          <a:lstStyle>
            <a:lvl1pPr>
              <a:spcAft>
                <a:spcPts val="1600"/>
              </a:spcAft>
              <a:defRPr sz="2000" b="0">
                <a:solidFill>
                  <a:schemeClr val="bg1"/>
                </a:solidFill>
              </a:defRPr>
            </a:lvl1pPr>
            <a:lvl2pPr>
              <a:lnSpc>
                <a:spcPct val="80000"/>
              </a:lnSpc>
              <a:spcAft>
                <a:spcPts val="0"/>
              </a:spcAft>
              <a:defRPr sz="4800" b="1">
                <a:solidFill>
                  <a:schemeClr val="bg1"/>
                </a:solidFill>
              </a:defRPr>
            </a:lvl2pPr>
          </a:lstStyle>
          <a:p>
            <a:pPr lvl="0"/>
            <a:endParaRPr lang="en-US"/>
          </a:p>
          <a:p>
            <a:pPr lvl="1"/>
            <a:r>
              <a:rPr lang="en-US"/>
              <a:t>Divider title goes here</a:t>
            </a:r>
          </a:p>
        </p:txBody>
      </p:sp>
    </p:spTree>
    <p:extLst>
      <p:ext uri="{BB962C8B-B14F-4D97-AF65-F5344CB8AC3E}">
        <p14:creationId xmlns:p14="http://schemas.microsoft.com/office/powerpoint/2010/main" val="10580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750"/>
                                        <p:tgtEl>
                                          <p:spTgt spid="4"/>
                                        </p:tgtEl>
                                      </p:cBhvr>
                                    </p:animEffect>
                                  </p:childTnLst>
                                </p:cTn>
                              </p:par>
                              <p:par>
                                <p:cTn id="8" presetID="35" presetClass="path" presetSubtype="0" decel="100000" fill="hold" grpId="1" nodeType="withEffect">
                                  <p:stCondLst>
                                    <p:cond delay="0"/>
                                  </p:stCondLst>
                                  <p:childTnLst>
                                    <p:animMotion origin="layout" path="M -2.29167E-6 -4.07407E-6 L -0.03659 -4.07407E-6 " pathEditMode="relative" rAng="0" ptsTypes="AA">
                                      <p:cBhvr>
                                        <p:cTn id="9" dur="1000" spd="-100000" fill="hold"/>
                                        <p:tgtEl>
                                          <p:spTgt spid="4"/>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tmplLst>
          <p:tmpl>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50"/>
                        <p:tgtEl>
                          <p:spTgt spid="4"/>
                        </p:tgtEl>
                      </p:cBhvr>
                    </p:animEffect>
                  </p:childTnLst>
                </p:cTn>
              </p:par>
            </p:tnLst>
          </p:tmpl>
        </p:tmplLst>
      </p:bldP>
      <p:bldP spid="4" grpId="1"/>
    </p:bld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D1DA5-55F2-40D3-B419-631F81A7BC28}"/>
              </a:ext>
            </a:extLst>
          </p:cNvPr>
          <p:cNvSpPr>
            <a:spLocks noGrp="1"/>
          </p:cNvSpPr>
          <p:nvPr>
            <p:ph type="title"/>
          </p:nvPr>
        </p:nvSpPr>
        <p:spPr>
          <a:xfrm>
            <a:off x="593275" y="553913"/>
            <a:ext cx="11010859" cy="997196"/>
          </a:xfrm>
          <a:prstGeom prst="rect">
            <a:avLst/>
          </a:prstGeom>
        </p:spPr>
        <p:txBody>
          <a:bodyPr/>
          <a:lstStyle/>
          <a:p>
            <a:r>
              <a:rPr lang="en-US"/>
              <a:t>Click to edit Master title style</a:t>
            </a:r>
            <a:endParaRPr lang="en-GB"/>
          </a:p>
        </p:txBody>
      </p:sp>
      <p:sp>
        <p:nvSpPr>
          <p:cNvPr id="4" name="Slide Number Placeholder 3">
            <a:extLst>
              <a:ext uri="{FF2B5EF4-FFF2-40B4-BE49-F238E27FC236}">
                <a16:creationId xmlns:a16="http://schemas.microsoft.com/office/drawing/2014/main" id="{4FAFE0EF-6D08-4FD2-A682-B9FB8E641E2A}"/>
              </a:ext>
            </a:extLst>
          </p:cNvPr>
          <p:cNvSpPr>
            <a:spLocks noGrp="1"/>
          </p:cNvSpPr>
          <p:nvPr>
            <p:ph type="sldNum" sz="quarter" idx="11"/>
          </p:nvPr>
        </p:nvSpPr>
        <p:spPr/>
        <p:txBody>
          <a:bodyPr/>
          <a:lstStyle/>
          <a:p>
            <a:fld id="{330EA680-D336-4FF7-8B7A-9848BB0A1C32}" type="slidenum">
              <a:rPr lang="en-US" smtClean="0"/>
              <a:t>‹#›</a:t>
            </a:fld>
            <a:endParaRPr lang="en-US"/>
          </a:p>
        </p:txBody>
      </p:sp>
      <p:sp>
        <p:nvSpPr>
          <p:cNvPr id="5" name="Footer Placeholder 4">
            <a:extLst>
              <a:ext uri="{FF2B5EF4-FFF2-40B4-BE49-F238E27FC236}">
                <a16:creationId xmlns:a16="http://schemas.microsoft.com/office/drawing/2014/main" id="{FAADFE60-5AD8-457E-9732-7397A5F36697}"/>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Tree>
    <p:extLst>
      <p:ext uri="{BB962C8B-B14F-4D97-AF65-F5344CB8AC3E}">
        <p14:creationId xmlns:p14="http://schemas.microsoft.com/office/powerpoint/2010/main" val="4157972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 Column Content">
    <p:spTree>
      <p:nvGrpSpPr>
        <p:cNvPr id="1" name=""/>
        <p:cNvGrpSpPr/>
        <p:nvPr/>
      </p:nvGrpSpPr>
      <p:grpSpPr>
        <a:xfrm>
          <a:off x="0" y="0"/>
          <a:ext cx="0" cy="0"/>
          <a:chOff x="0" y="0"/>
          <a:chExt cx="0" cy="0"/>
        </a:xfrm>
      </p:grpSpPr>
      <p:sp>
        <p:nvSpPr>
          <p:cNvPr id="8" name="Content Placeholder 3">
            <a:extLst>
              <a:ext uri="{FF2B5EF4-FFF2-40B4-BE49-F238E27FC236}">
                <a16:creationId xmlns:a16="http://schemas.microsoft.com/office/drawing/2014/main" id="{8B561EF8-1224-43F9-9074-96C48F6BA227}"/>
              </a:ext>
            </a:extLst>
          </p:cNvPr>
          <p:cNvSpPr>
            <a:spLocks noGrp="1"/>
          </p:cNvSpPr>
          <p:nvPr>
            <p:ph sz="quarter" idx="12"/>
          </p:nvPr>
        </p:nvSpPr>
        <p:spPr>
          <a:xfrm>
            <a:off x="593275" y="1853988"/>
            <a:ext cx="11010859"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3">
            <a:extLst>
              <a:ext uri="{FF2B5EF4-FFF2-40B4-BE49-F238E27FC236}">
                <a16:creationId xmlns:a16="http://schemas.microsoft.com/office/drawing/2014/main" id="{3AEACA4E-069D-4351-A086-47231CC09669}"/>
              </a:ext>
            </a:extLst>
          </p:cNvPr>
          <p:cNvSpPr>
            <a:spLocks noGrp="1"/>
          </p:cNvSpPr>
          <p:nvPr>
            <p:ph type="sldNum" sz="quarter" idx="14"/>
          </p:nvPr>
        </p:nvSpPr>
        <p:spPr/>
        <p:txBody>
          <a:bodyPr/>
          <a:lstStyle/>
          <a:p>
            <a:fld id="{330EA680-D336-4FF7-8B7A-9848BB0A1C32}" type="slidenum">
              <a:rPr lang="en-US" smtClean="0"/>
              <a:t>‹#›</a:t>
            </a:fld>
            <a:endParaRPr lang="en-US"/>
          </a:p>
        </p:txBody>
      </p:sp>
      <p:sp>
        <p:nvSpPr>
          <p:cNvPr id="5" name="Footer Placeholder 4">
            <a:extLst>
              <a:ext uri="{FF2B5EF4-FFF2-40B4-BE49-F238E27FC236}">
                <a16:creationId xmlns:a16="http://schemas.microsoft.com/office/drawing/2014/main" id="{900CBB9F-C8C0-42D7-BCE5-B450F147055C}"/>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Tree>
    <p:extLst>
      <p:ext uri="{BB962C8B-B14F-4D97-AF65-F5344CB8AC3E}">
        <p14:creationId xmlns:p14="http://schemas.microsoft.com/office/powerpoint/2010/main" val="2142189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C39937D-A797-4A74-B576-60C1722C1D93}"/>
              </a:ext>
            </a:extLst>
          </p:cNvPr>
          <p:cNvSpPr>
            <a:spLocks noGrp="1"/>
          </p:cNvSpPr>
          <p:nvPr>
            <p:ph type="sldNum" sz="quarter" idx="12"/>
          </p:nvPr>
        </p:nvSpPr>
        <p:spPr/>
        <p:txBody>
          <a:bodyPr/>
          <a:lstStyle/>
          <a:p>
            <a:fld id="{330EA680-D336-4FF7-8B7A-9848BB0A1C32}" type="slidenum">
              <a:rPr lang="en-US" smtClean="0"/>
              <a:t>‹#›</a:t>
            </a:fld>
            <a:endParaRPr lang="en-US"/>
          </a:p>
        </p:txBody>
      </p:sp>
      <p:sp>
        <p:nvSpPr>
          <p:cNvPr id="3" name="Footer Placeholder 4">
            <a:extLst>
              <a:ext uri="{FF2B5EF4-FFF2-40B4-BE49-F238E27FC236}">
                <a16:creationId xmlns:a16="http://schemas.microsoft.com/office/drawing/2014/main" id="{32A680B6-B210-447B-B7B6-12A9479CD2C5}"/>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Tree>
    <p:extLst>
      <p:ext uri="{BB962C8B-B14F-4D97-AF65-F5344CB8AC3E}">
        <p14:creationId xmlns:p14="http://schemas.microsoft.com/office/powerpoint/2010/main" val="672395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D1DA5-55F2-40D3-B419-631F81A7BC28}"/>
              </a:ext>
            </a:extLst>
          </p:cNvPr>
          <p:cNvSpPr>
            <a:spLocks noGrp="1"/>
          </p:cNvSpPr>
          <p:nvPr>
            <p:ph type="title"/>
          </p:nvPr>
        </p:nvSpPr>
        <p:spPr>
          <a:xfrm>
            <a:off x="593275" y="553913"/>
            <a:ext cx="11010859" cy="997196"/>
          </a:xfrm>
          <a:prstGeom prst="rect">
            <a:avLst/>
          </a:prstGeom>
        </p:spPr>
        <p:txBody>
          <a:bodyPr/>
          <a:lstStyle/>
          <a:p>
            <a:r>
              <a:rPr lang="en-US"/>
              <a:t>Click to edit Master title style</a:t>
            </a:r>
            <a:endParaRPr lang="en-GB"/>
          </a:p>
        </p:txBody>
      </p:sp>
      <p:sp>
        <p:nvSpPr>
          <p:cNvPr id="8" name="Content Placeholder 3">
            <a:extLst>
              <a:ext uri="{FF2B5EF4-FFF2-40B4-BE49-F238E27FC236}">
                <a16:creationId xmlns:a16="http://schemas.microsoft.com/office/drawing/2014/main" id="{8B561EF8-1224-43F9-9074-96C48F6BA227}"/>
              </a:ext>
            </a:extLst>
          </p:cNvPr>
          <p:cNvSpPr>
            <a:spLocks noGrp="1"/>
          </p:cNvSpPr>
          <p:nvPr>
            <p:ph sz="quarter" idx="12"/>
          </p:nvPr>
        </p:nvSpPr>
        <p:spPr>
          <a:xfrm>
            <a:off x="593275" y="1853988"/>
            <a:ext cx="5178725"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3">
            <a:extLst>
              <a:ext uri="{FF2B5EF4-FFF2-40B4-BE49-F238E27FC236}">
                <a16:creationId xmlns:a16="http://schemas.microsoft.com/office/drawing/2014/main" id="{28F114D6-71D0-44B0-955F-D96A2B62F97C}"/>
              </a:ext>
            </a:extLst>
          </p:cNvPr>
          <p:cNvSpPr>
            <a:spLocks noGrp="1"/>
          </p:cNvSpPr>
          <p:nvPr>
            <p:ph sz="quarter" idx="13"/>
          </p:nvPr>
        </p:nvSpPr>
        <p:spPr>
          <a:xfrm>
            <a:off x="6420000" y="1853988"/>
            <a:ext cx="5178725"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3">
            <a:extLst>
              <a:ext uri="{FF2B5EF4-FFF2-40B4-BE49-F238E27FC236}">
                <a16:creationId xmlns:a16="http://schemas.microsoft.com/office/drawing/2014/main" id="{979CA941-E218-49A3-B55B-69A27AF40D55}"/>
              </a:ext>
            </a:extLst>
          </p:cNvPr>
          <p:cNvSpPr>
            <a:spLocks noGrp="1"/>
          </p:cNvSpPr>
          <p:nvPr>
            <p:ph type="sldNum" sz="quarter" idx="15"/>
          </p:nvPr>
        </p:nvSpPr>
        <p:spPr/>
        <p:txBody>
          <a:bodyPr/>
          <a:lstStyle/>
          <a:p>
            <a:fld id="{330EA680-D336-4FF7-8B7A-9848BB0A1C32}" type="slidenum">
              <a:rPr lang="en-US" smtClean="0"/>
              <a:t>‹#›</a:t>
            </a:fld>
            <a:endParaRPr lang="en-US"/>
          </a:p>
        </p:txBody>
      </p:sp>
      <p:sp>
        <p:nvSpPr>
          <p:cNvPr id="6" name="Footer Placeholder 4">
            <a:extLst>
              <a:ext uri="{FF2B5EF4-FFF2-40B4-BE49-F238E27FC236}">
                <a16:creationId xmlns:a16="http://schemas.microsoft.com/office/drawing/2014/main" id="{97217153-25B9-45C8-9E70-28BD194F9CF8}"/>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Tree>
    <p:extLst>
      <p:ext uri="{BB962C8B-B14F-4D97-AF65-F5344CB8AC3E}">
        <p14:creationId xmlns:p14="http://schemas.microsoft.com/office/powerpoint/2010/main" val="1656610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3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D1DA5-55F2-40D3-B419-631F81A7BC28}"/>
              </a:ext>
            </a:extLst>
          </p:cNvPr>
          <p:cNvSpPr>
            <a:spLocks noGrp="1"/>
          </p:cNvSpPr>
          <p:nvPr>
            <p:ph type="title"/>
          </p:nvPr>
        </p:nvSpPr>
        <p:spPr>
          <a:xfrm>
            <a:off x="593275" y="553913"/>
            <a:ext cx="11010859" cy="997196"/>
          </a:xfrm>
          <a:prstGeom prst="rect">
            <a:avLst/>
          </a:prstGeom>
        </p:spPr>
        <p:txBody>
          <a:bodyPr/>
          <a:lstStyle/>
          <a:p>
            <a:r>
              <a:rPr lang="en-US"/>
              <a:t>Click to edit Master title style</a:t>
            </a:r>
            <a:endParaRPr lang="en-GB"/>
          </a:p>
        </p:txBody>
      </p:sp>
      <p:sp>
        <p:nvSpPr>
          <p:cNvPr id="8" name="Content Placeholder 3">
            <a:extLst>
              <a:ext uri="{FF2B5EF4-FFF2-40B4-BE49-F238E27FC236}">
                <a16:creationId xmlns:a16="http://schemas.microsoft.com/office/drawing/2014/main" id="{8B561EF8-1224-43F9-9074-96C48F6BA227}"/>
              </a:ext>
            </a:extLst>
          </p:cNvPr>
          <p:cNvSpPr>
            <a:spLocks noGrp="1"/>
          </p:cNvSpPr>
          <p:nvPr>
            <p:ph sz="quarter" idx="12"/>
          </p:nvPr>
        </p:nvSpPr>
        <p:spPr>
          <a:xfrm>
            <a:off x="593275" y="1853988"/>
            <a:ext cx="3233523"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3">
            <a:extLst>
              <a:ext uri="{FF2B5EF4-FFF2-40B4-BE49-F238E27FC236}">
                <a16:creationId xmlns:a16="http://schemas.microsoft.com/office/drawing/2014/main" id="{1CAF5EC5-44CA-4A84-BC08-7E3C2E741151}"/>
              </a:ext>
            </a:extLst>
          </p:cNvPr>
          <p:cNvSpPr>
            <a:spLocks noGrp="1"/>
          </p:cNvSpPr>
          <p:nvPr>
            <p:ph sz="quarter" idx="13"/>
          </p:nvPr>
        </p:nvSpPr>
        <p:spPr>
          <a:xfrm>
            <a:off x="4479239" y="1853988"/>
            <a:ext cx="3233523"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3">
            <a:extLst>
              <a:ext uri="{FF2B5EF4-FFF2-40B4-BE49-F238E27FC236}">
                <a16:creationId xmlns:a16="http://schemas.microsoft.com/office/drawing/2014/main" id="{DEF5505D-3F29-4D22-A954-FB8F17A0F675}"/>
              </a:ext>
            </a:extLst>
          </p:cNvPr>
          <p:cNvSpPr>
            <a:spLocks noGrp="1"/>
          </p:cNvSpPr>
          <p:nvPr>
            <p:ph sz="quarter" idx="14"/>
          </p:nvPr>
        </p:nvSpPr>
        <p:spPr>
          <a:xfrm>
            <a:off x="8373870" y="1853988"/>
            <a:ext cx="3233523"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3">
            <a:extLst>
              <a:ext uri="{FF2B5EF4-FFF2-40B4-BE49-F238E27FC236}">
                <a16:creationId xmlns:a16="http://schemas.microsoft.com/office/drawing/2014/main" id="{C4DD25D4-AF48-4DA4-8C93-26FFA3C54511}"/>
              </a:ext>
            </a:extLst>
          </p:cNvPr>
          <p:cNvSpPr>
            <a:spLocks noGrp="1"/>
          </p:cNvSpPr>
          <p:nvPr>
            <p:ph type="sldNum" sz="quarter" idx="16"/>
          </p:nvPr>
        </p:nvSpPr>
        <p:spPr/>
        <p:txBody>
          <a:bodyPr/>
          <a:lstStyle/>
          <a:p>
            <a:fld id="{330EA680-D336-4FF7-8B7A-9848BB0A1C32}" type="slidenum">
              <a:rPr lang="en-US" smtClean="0"/>
              <a:t>‹#›</a:t>
            </a:fld>
            <a:endParaRPr lang="en-US"/>
          </a:p>
        </p:txBody>
      </p:sp>
      <p:sp>
        <p:nvSpPr>
          <p:cNvPr id="7" name="Footer Placeholder 4">
            <a:extLst>
              <a:ext uri="{FF2B5EF4-FFF2-40B4-BE49-F238E27FC236}">
                <a16:creationId xmlns:a16="http://schemas.microsoft.com/office/drawing/2014/main" id="{DE0E394F-B5EE-4122-AB98-EC5AC9181E5B}"/>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Tree>
    <p:extLst>
      <p:ext uri="{BB962C8B-B14F-4D97-AF65-F5344CB8AC3E}">
        <p14:creationId xmlns:p14="http://schemas.microsoft.com/office/powerpoint/2010/main" val="3548232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and 2 x Content (3)">
    <p:spTree>
      <p:nvGrpSpPr>
        <p:cNvPr id="1" name=""/>
        <p:cNvGrpSpPr/>
        <p:nvPr/>
      </p:nvGrpSpPr>
      <p:grpSpPr>
        <a:xfrm>
          <a:off x="0" y="0"/>
          <a:ext cx="0" cy="0"/>
          <a:chOff x="0" y="0"/>
          <a:chExt cx="0" cy="0"/>
        </a:xfrm>
      </p:grpSpPr>
      <p:sp>
        <p:nvSpPr>
          <p:cNvPr id="8" name="Content Placeholder 2"/>
          <p:cNvSpPr>
            <a:spLocks noGrp="1"/>
          </p:cNvSpPr>
          <p:nvPr>
            <p:ph idx="1"/>
          </p:nvPr>
        </p:nvSpPr>
        <p:spPr>
          <a:xfrm>
            <a:off x="360000" y="1708150"/>
            <a:ext cx="5626800" cy="4003675"/>
          </a:xfrm>
          <a:prstGeom prst="rect">
            <a:avLst/>
          </a:prstGeom>
        </p:spPr>
        <p:txBody>
          <a:bodyPr>
            <a:noAutofit/>
          </a:bodyPr>
          <a:lstStyle>
            <a:lvl1pPr>
              <a:defRPr sz="1400" b="0">
                <a:solidFill>
                  <a:schemeClr val="tx1"/>
                </a:solidFill>
              </a:defRPr>
            </a:lvl1pPr>
            <a:lvl2pPr>
              <a:spcBef>
                <a:spcPts val="600"/>
              </a:spcBef>
              <a:defRPr sz="1400">
                <a:solidFill>
                  <a:schemeClr val="tx1"/>
                </a:solidFill>
              </a:defRPr>
            </a:lvl2pPr>
            <a:lvl3pPr>
              <a:spcBef>
                <a:spcPts val="600"/>
              </a:spcBef>
              <a:defRPr sz="1400">
                <a:solidFill>
                  <a:schemeClr val="tx1"/>
                </a:solidFill>
              </a:defRPr>
            </a:lvl3pPr>
            <a:lvl4pPr>
              <a:spcBef>
                <a:spcPts val="600"/>
              </a:spcBef>
              <a:defRPr sz="1400">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5"/>
          <p:cNvSpPr>
            <a:spLocks noGrp="1"/>
          </p:cNvSpPr>
          <p:nvPr>
            <p:ph sz="quarter" idx="14"/>
          </p:nvPr>
        </p:nvSpPr>
        <p:spPr>
          <a:xfrm>
            <a:off x="6191574" y="1708150"/>
            <a:ext cx="5628408" cy="4003676"/>
          </a:xfrm>
          <a:prstGeom prst="rect">
            <a:avLst/>
          </a:prstGeom>
        </p:spPr>
        <p:txBody>
          <a:bodyPr>
            <a:noAutofit/>
          </a:bodyPr>
          <a:lstStyle>
            <a:lvl1pPr>
              <a:defRPr sz="1400" b="0">
                <a:solidFill>
                  <a:schemeClr val="tx1"/>
                </a:solidFill>
              </a:defRPr>
            </a:lvl1pPr>
            <a:lvl2pPr>
              <a:spcBef>
                <a:spcPts val="600"/>
              </a:spcBef>
              <a:defRPr sz="1400">
                <a:solidFill>
                  <a:schemeClr val="tx1"/>
                </a:solidFill>
              </a:defRPr>
            </a:lvl2pPr>
            <a:lvl3pPr>
              <a:spcBef>
                <a:spcPts val="600"/>
              </a:spcBef>
              <a:defRPr sz="1400">
                <a:solidFill>
                  <a:schemeClr val="tx1"/>
                </a:solidFill>
              </a:defRPr>
            </a:lvl3pPr>
            <a:lvl4pPr>
              <a:spcBef>
                <a:spcPts val="600"/>
              </a:spcBef>
              <a:defRPr sz="1400">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Placeholder 1"/>
          <p:cNvSpPr>
            <a:spLocks noGrp="1"/>
          </p:cNvSpPr>
          <p:nvPr>
            <p:ph type="title"/>
          </p:nvPr>
        </p:nvSpPr>
        <p:spPr>
          <a:xfrm>
            <a:off x="359999" y="430717"/>
            <a:ext cx="11466875" cy="404119"/>
          </a:xfrm>
          <a:prstGeom prst="rect">
            <a:avLst/>
          </a:prstGeom>
        </p:spPr>
        <p:txBody>
          <a:bodyPr vert="horz" lIns="0" tIns="0" rIns="0" bIns="0" rtlCol="0" anchor="t">
            <a:noAutofit/>
          </a:bodyPr>
          <a:lstStyle/>
          <a:p>
            <a:r>
              <a:rPr lang="en-US"/>
              <a:t>Click to edit Master title style</a:t>
            </a:r>
            <a:endParaRPr lang="en-GB"/>
          </a:p>
        </p:txBody>
      </p:sp>
      <p:sp>
        <p:nvSpPr>
          <p:cNvPr id="14" name="Text Placeholder 2"/>
          <p:cNvSpPr>
            <a:spLocks noGrp="1"/>
          </p:cNvSpPr>
          <p:nvPr>
            <p:ph type="body" sz="quarter" idx="16"/>
          </p:nvPr>
        </p:nvSpPr>
        <p:spPr>
          <a:xfrm>
            <a:off x="357188" y="909635"/>
            <a:ext cx="11477331" cy="396875"/>
          </a:xfrm>
          <a:prstGeom prst="rect">
            <a:avLst/>
          </a:prstGeom>
        </p:spPr>
        <p:txBody>
          <a:bodyPr/>
          <a:lstStyle>
            <a:lvl1pPr>
              <a:defRPr sz="1800"/>
            </a:lvl1pPr>
          </a:lstStyle>
          <a:p>
            <a:pPr lvl="0"/>
            <a:r>
              <a:rPr lang="en-US"/>
              <a:t>Click to edit Master text styles</a:t>
            </a:r>
          </a:p>
        </p:txBody>
      </p:sp>
      <p:sp>
        <p:nvSpPr>
          <p:cNvPr id="15" name="Text Placeholder 17"/>
          <p:cNvSpPr>
            <a:spLocks noGrp="1"/>
          </p:cNvSpPr>
          <p:nvPr>
            <p:ph type="body" sz="quarter" idx="15" hasCustomPrompt="1"/>
          </p:nvPr>
        </p:nvSpPr>
        <p:spPr>
          <a:xfrm>
            <a:off x="6096000" y="6393509"/>
            <a:ext cx="4670778" cy="197792"/>
          </a:xfrm>
          <a:prstGeom prst="rect">
            <a:avLst/>
          </a:prstGeom>
        </p:spPr>
        <p:txBody>
          <a:bodyPr anchor="ctr">
            <a:noAutofit/>
          </a:bodyPr>
          <a:lstStyle>
            <a:lvl1pPr>
              <a:spcBef>
                <a:spcPts val="600"/>
              </a:spcBef>
              <a:defRPr sz="800">
                <a:solidFill>
                  <a:schemeClr val="tx1"/>
                </a:solidFill>
              </a:defRPr>
            </a:lvl1pPr>
          </a:lstStyle>
          <a:p>
            <a:pPr lvl="0"/>
            <a:r>
              <a:rPr lang="en-US"/>
              <a:t>Click to add footer text</a:t>
            </a:r>
          </a:p>
        </p:txBody>
      </p:sp>
      <p:sp>
        <p:nvSpPr>
          <p:cNvPr id="16" name="Slide Number Placeholder 5"/>
          <p:cNvSpPr>
            <a:spLocks noGrp="1"/>
          </p:cNvSpPr>
          <p:nvPr>
            <p:ph type="sldNum" sz="quarter" idx="4"/>
          </p:nvPr>
        </p:nvSpPr>
        <p:spPr>
          <a:xfrm>
            <a:off x="10856913" y="6394275"/>
            <a:ext cx="969962" cy="196850"/>
          </a:xfrm>
          <a:prstGeom prst="rect">
            <a:avLst/>
          </a:prstGeom>
        </p:spPr>
        <p:txBody>
          <a:bodyPr vert="horz" lIns="0" tIns="0" rIns="0" bIns="0" rtlCol="0" anchor="ctr"/>
          <a:lstStyle>
            <a:lvl1pPr algn="r">
              <a:defRPr sz="1000">
                <a:solidFill>
                  <a:schemeClr val="tx1"/>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3451275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Section Header (White)">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a:xfrm>
            <a:off x="360362" y="2984855"/>
            <a:ext cx="11466511" cy="1585557"/>
          </a:xfrm>
          <a:prstGeom prst="rect">
            <a:avLst/>
          </a:prstGeom>
        </p:spPr>
        <p:txBody>
          <a:bodyPr anchor="t"/>
          <a:lstStyle>
            <a:lvl1pPr algn="l">
              <a:spcBef>
                <a:spcPts val="200"/>
              </a:spcBef>
              <a:defRPr sz="2400" b="1">
                <a:solidFill>
                  <a:schemeClr val="tx1"/>
                </a:solidFill>
              </a:defRPr>
            </a:lvl1pPr>
            <a:lvl2pPr marL="0" indent="0" algn="l">
              <a:spcBef>
                <a:spcPts val="200"/>
              </a:spcBef>
              <a:buNone/>
              <a:defRPr sz="2200" b="0">
                <a:solidFill>
                  <a:schemeClr val="tx1"/>
                </a:solidFill>
              </a:defRPr>
            </a:lvl2pPr>
          </a:lstStyle>
          <a:p>
            <a:pPr lvl="0"/>
            <a:r>
              <a:rPr lang="en-US"/>
              <a:t>Click to edit Master text styles</a:t>
            </a:r>
          </a:p>
          <a:p>
            <a:pPr lvl="1"/>
            <a:r>
              <a:rPr lang="en-US"/>
              <a:t>Second level</a:t>
            </a:r>
          </a:p>
        </p:txBody>
      </p:sp>
      <p:sp>
        <p:nvSpPr>
          <p:cNvPr id="5" name="Text Placeholder 2"/>
          <p:cNvSpPr>
            <a:spLocks noGrp="1"/>
          </p:cNvSpPr>
          <p:nvPr>
            <p:ph type="body" sz="quarter" idx="16" hasCustomPrompt="1"/>
          </p:nvPr>
        </p:nvSpPr>
        <p:spPr>
          <a:xfrm>
            <a:off x="359999" y="2564672"/>
            <a:ext cx="976676" cy="411163"/>
          </a:xfrm>
          <a:prstGeom prst="rect">
            <a:avLst/>
          </a:prstGeom>
        </p:spPr>
        <p:txBody>
          <a:bodyPr anchor="t"/>
          <a:lstStyle>
            <a:lvl1pPr algn="l">
              <a:spcBef>
                <a:spcPts val="200"/>
              </a:spcBef>
              <a:defRPr sz="2400" b="1">
                <a:solidFill>
                  <a:schemeClr val="tx1"/>
                </a:solidFill>
              </a:defRPr>
            </a:lvl1pPr>
            <a:lvl2pPr marL="0" indent="0" algn="l">
              <a:spcBef>
                <a:spcPts val="200"/>
              </a:spcBef>
              <a:buNone/>
              <a:defRPr sz="2200" b="0">
                <a:solidFill>
                  <a:schemeClr val="tx1"/>
                </a:solidFill>
              </a:defRPr>
            </a:lvl2pPr>
          </a:lstStyle>
          <a:p>
            <a:pPr lvl="0"/>
            <a:r>
              <a:rPr lang="en-US"/>
              <a:t>No.</a:t>
            </a:r>
          </a:p>
        </p:txBody>
      </p:sp>
      <p:sp>
        <p:nvSpPr>
          <p:cNvPr id="7" name="Slide Number Placeholder 5"/>
          <p:cNvSpPr>
            <a:spLocks noGrp="1"/>
          </p:cNvSpPr>
          <p:nvPr>
            <p:ph type="sldNum" sz="quarter" idx="4"/>
          </p:nvPr>
        </p:nvSpPr>
        <p:spPr>
          <a:xfrm>
            <a:off x="10856913" y="6394275"/>
            <a:ext cx="969962" cy="196850"/>
          </a:xfrm>
          <a:prstGeom prst="rect">
            <a:avLst/>
          </a:prstGeom>
        </p:spPr>
        <p:txBody>
          <a:bodyPr vert="horz" lIns="0" tIns="0" rIns="0" bIns="0" rtlCol="0" anchor="ctr"/>
          <a:lstStyle>
            <a:lvl1pPr algn="r">
              <a:defRPr sz="1000">
                <a:solidFill>
                  <a:schemeClr val="tx1"/>
                </a:solidFill>
              </a:defRPr>
            </a:lvl1pPr>
          </a:lstStyle>
          <a:p>
            <a:fld id="{330EA680-D336-4FF7-8B7A-9848BB0A1C32}" type="slidenum">
              <a:rPr lang="en-US" smtClean="0"/>
              <a:t>‹#›</a:t>
            </a:fld>
            <a:endParaRPr lang="en-US"/>
          </a:p>
        </p:txBody>
      </p:sp>
      <p:sp>
        <p:nvSpPr>
          <p:cNvPr id="9" name="Text Placeholder 17"/>
          <p:cNvSpPr>
            <a:spLocks noGrp="1"/>
          </p:cNvSpPr>
          <p:nvPr>
            <p:ph type="body" sz="quarter" idx="17" hasCustomPrompt="1"/>
          </p:nvPr>
        </p:nvSpPr>
        <p:spPr>
          <a:xfrm>
            <a:off x="354012" y="6399213"/>
            <a:ext cx="5741987" cy="182562"/>
          </a:xfrm>
          <a:prstGeom prst="rect">
            <a:avLst/>
          </a:prstGeom>
        </p:spPr>
        <p:txBody>
          <a:bodyPr anchor="ctr">
            <a:noAutofit/>
          </a:bodyPr>
          <a:lstStyle>
            <a:lvl1pPr>
              <a:defRPr sz="800">
                <a:solidFill>
                  <a:schemeClr val="tx1"/>
                </a:solidFill>
              </a:defRPr>
            </a:lvl1pPr>
          </a:lstStyle>
          <a:p>
            <a:pPr lvl="0"/>
            <a:r>
              <a:rPr lang="en-US"/>
              <a:t>Click to add footer text</a:t>
            </a:r>
          </a:p>
        </p:txBody>
      </p:sp>
    </p:spTree>
    <p:extLst>
      <p:ext uri="{BB962C8B-B14F-4D97-AF65-F5344CB8AC3E}">
        <p14:creationId xmlns:p14="http://schemas.microsoft.com/office/powerpoint/2010/main" val="1180459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4">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646A5C8-9FAD-4A32-B2BD-9D5DD5101B50}"/>
              </a:ext>
            </a:extLst>
          </p:cNvPr>
          <p:cNvSpPr/>
          <p:nvPr userDrawn="1"/>
        </p:nvSpPr>
        <p:spPr>
          <a:xfrm>
            <a:off x="0" y="0"/>
            <a:ext cx="7128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latin typeface="Public Sans SemiBold" pitchFamily="2" charset="0"/>
            </a:endParaRPr>
          </a:p>
        </p:txBody>
      </p:sp>
      <p:sp>
        <p:nvSpPr>
          <p:cNvPr id="5" name="Picture Placeholder 4">
            <a:extLst>
              <a:ext uri="{FF2B5EF4-FFF2-40B4-BE49-F238E27FC236}">
                <a16:creationId xmlns:a16="http://schemas.microsoft.com/office/drawing/2014/main" id="{47081598-8EF9-4067-828C-DA3306F39365}"/>
              </a:ext>
            </a:extLst>
          </p:cNvPr>
          <p:cNvSpPr>
            <a:spLocks noGrp="1"/>
          </p:cNvSpPr>
          <p:nvPr>
            <p:ph type="pic" sz="quarter" idx="13"/>
          </p:nvPr>
        </p:nvSpPr>
        <p:spPr>
          <a:xfrm>
            <a:off x="7112926" y="0"/>
            <a:ext cx="3708000" cy="6858000"/>
          </a:xfrm>
        </p:spPr>
        <p:txBody>
          <a:bodyPr/>
          <a:lstStyle/>
          <a:p>
            <a:r>
              <a:rPr lang="en-US"/>
              <a:t>Click icon to add picture</a:t>
            </a:r>
            <a:endParaRPr lang="en-AU"/>
          </a:p>
        </p:txBody>
      </p:sp>
      <p:sp>
        <p:nvSpPr>
          <p:cNvPr id="2" name="Title 1"/>
          <p:cNvSpPr>
            <a:spLocks noGrp="1"/>
          </p:cNvSpPr>
          <p:nvPr>
            <p:ph type="ctrTitle" hasCustomPrompt="1"/>
          </p:nvPr>
        </p:nvSpPr>
        <p:spPr>
          <a:xfrm>
            <a:off x="540000" y="1118380"/>
            <a:ext cx="4500000" cy="2679008"/>
          </a:xfrm>
          <a:ln>
            <a:noFill/>
          </a:ln>
        </p:spPr>
        <p:txBody>
          <a:bodyPr anchor="b">
            <a:normAutofit/>
          </a:bodyPr>
          <a:lstStyle>
            <a:lvl1pPr algn="l">
              <a:lnSpc>
                <a:spcPct val="90000"/>
              </a:lnSpc>
              <a:defRPr sz="4800">
                <a:solidFill>
                  <a:schemeClr val="bg1"/>
                </a:solidFill>
              </a:defRPr>
            </a:lvl1pPr>
          </a:lstStyle>
          <a:p>
            <a:r>
              <a:rPr lang="en-US"/>
              <a:t>Presentation title</a:t>
            </a:r>
          </a:p>
        </p:txBody>
      </p:sp>
      <p:sp>
        <p:nvSpPr>
          <p:cNvPr id="11" name="Text Placeholder 10">
            <a:extLst>
              <a:ext uri="{FF2B5EF4-FFF2-40B4-BE49-F238E27FC236}">
                <a16:creationId xmlns:a16="http://schemas.microsoft.com/office/drawing/2014/main" id="{AA33BD13-5953-47AF-A601-951A768FEDA1}"/>
              </a:ext>
            </a:extLst>
          </p:cNvPr>
          <p:cNvSpPr>
            <a:spLocks noGrp="1"/>
          </p:cNvSpPr>
          <p:nvPr>
            <p:ph type="body" sz="quarter" idx="10" hasCustomPrompt="1"/>
          </p:nvPr>
        </p:nvSpPr>
        <p:spPr>
          <a:xfrm>
            <a:off x="540000" y="3960000"/>
            <a:ext cx="4500000" cy="1176813"/>
          </a:xfrm>
        </p:spPr>
        <p:txBody>
          <a:bodyPr anchor="t">
            <a:noAutofit/>
          </a:bodyPr>
          <a:lstStyle>
            <a:lvl1pPr>
              <a:defRPr sz="2000">
                <a:solidFill>
                  <a:schemeClr val="bg1"/>
                </a:solidFill>
                <a:latin typeface="+mj-lt"/>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Subtitle</a:t>
            </a:r>
          </a:p>
        </p:txBody>
      </p:sp>
      <p:sp>
        <p:nvSpPr>
          <p:cNvPr id="15" name="Text Placeholder 14">
            <a:extLst>
              <a:ext uri="{FF2B5EF4-FFF2-40B4-BE49-F238E27FC236}">
                <a16:creationId xmlns:a16="http://schemas.microsoft.com/office/drawing/2014/main" id="{B9280053-307C-4D8A-BF45-7B6743FA55E3}"/>
              </a:ext>
            </a:extLst>
          </p:cNvPr>
          <p:cNvSpPr>
            <a:spLocks noGrp="1"/>
          </p:cNvSpPr>
          <p:nvPr>
            <p:ph type="body" sz="quarter" idx="11" hasCustomPrompt="1"/>
          </p:nvPr>
        </p:nvSpPr>
        <p:spPr>
          <a:xfrm>
            <a:off x="5220000" y="3960000"/>
            <a:ext cx="1892926" cy="1176813"/>
          </a:xfrm>
        </p:spPr>
        <p:txBody>
          <a:bodyPr>
            <a:noAutofit/>
          </a:bodyPr>
          <a:lstStyle>
            <a:lvl1pPr>
              <a:lnSpc>
                <a:spcPct val="100000"/>
              </a:lnSpc>
              <a:spcAft>
                <a:spcPts val="0"/>
              </a:spcAft>
              <a:defRPr sz="1600" b="0">
                <a:solidFill>
                  <a:schemeClr val="bg1"/>
                </a:solidFill>
                <a:latin typeface="Public Sans SemiBold" pitchFamily="2" charset="0"/>
              </a:defRPr>
            </a:lvl1pPr>
            <a:lvl2pPr>
              <a:lnSpc>
                <a:spcPct val="100000"/>
              </a:lnSpc>
              <a:spcAft>
                <a:spcPts val="0"/>
              </a:spcAft>
              <a:defRPr sz="1600">
                <a:solidFill>
                  <a:schemeClr val="bg1"/>
                </a:solidFill>
                <a:latin typeface="+mn-lt"/>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Presenter name</a:t>
            </a:r>
          </a:p>
          <a:p>
            <a:pPr lvl="1"/>
            <a:r>
              <a:rPr lang="en-US"/>
              <a:t>Presenter title</a:t>
            </a:r>
          </a:p>
        </p:txBody>
      </p:sp>
      <p:sp>
        <p:nvSpPr>
          <p:cNvPr id="16" name="Text Placeholder 14">
            <a:extLst>
              <a:ext uri="{FF2B5EF4-FFF2-40B4-BE49-F238E27FC236}">
                <a16:creationId xmlns:a16="http://schemas.microsoft.com/office/drawing/2014/main" id="{0B9A9D47-05D2-409D-A941-8374F9F8E2D4}"/>
              </a:ext>
            </a:extLst>
          </p:cNvPr>
          <p:cNvSpPr>
            <a:spLocks noGrp="1"/>
          </p:cNvSpPr>
          <p:nvPr>
            <p:ph type="body" sz="quarter" idx="12" hasCustomPrompt="1"/>
          </p:nvPr>
        </p:nvSpPr>
        <p:spPr>
          <a:xfrm>
            <a:off x="540000" y="6120001"/>
            <a:ext cx="2700000" cy="280136"/>
          </a:xfrm>
        </p:spPr>
        <p:txBody>
          <a:bodyPr anchor="t">
            <a:noAutofit/>
          </a:bodyPr>
          <a:lstStyle>
            <a:lvl1pPr algn="l">
              <a:defRPr sz="1600" b="0">
                <a:solidFill>
                  <a:schemeClr val="bg1"/>
                </a:solidFill>
                <a:latin typeface="+mn-lt"/>
              </a:defRPr>
            </a:lvl1pPr>
            <a:lvl2pPr>
              <a:defRPr sz="1600">
                <a:solidFill>
                  <a:schemeClr val="bg1"/>
                </a:solidFill>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00 Month YY20</a:t>
            </a:r>
          </a:p>
        </p:txBody>
      </p:sp>
      <p:sp>
        <p:nvSpPr>
          <p:cNvPr id="20" name="Footer Placeholder 4">
            <a:extLst>
              <a:ext uri="{FF2B5EF4-FFF2-40B4-BE49-F238E27FC236}">
                <a16:creationId xmlns:a16="http://schemas.microsoft.com/office/drawing/2014/main" id="{E3775B0C-7FFD-4E7F-AC26-D5F1E787B1CC}"/>
              </a:ext>
            </a:extLst>
          </p:cNvPr>
          <p:cNvSpPr>
            <a:spLocks noGrp="1"/>
          </p:cNvSpPr>
          <p:nvPr>
            <p:ph type="ftr" sz="quarter" idx="3"/>
          </p:nvPr>
        </p:nvSpPr>
        <p:spPr>
          <a:xfrm>
            <a:off x="540000" y="359999"/>
            <a:ext cx="4500000" cy="512197"/>
          </a:xfrm>
          <a:prstGeom prst="rect">
            <a:avLst/>
          </a:prstGeom>
        </p:spPr>
        <p:txBody>
          <a:bodyPr vert="horz" lIns="0" tIns="0" rIns="0" bIns="0" rtlCol="0" anchor="t"/>
          <a:lstStyle>
            <a:lvl1pPr algn="l">
              <a:defRPr sz="1200">
                <a:solidFill>
                  <a:schemeClr val="bg1"/>
                </a:solidFill>
                <a:latin typeface="Public Sans SemiBold" pitchFamily="2" charset="0"/>
              </a:defRPr>
            </a:lvl1pPr>
          </a:lstStyle>
          <a:p>
            <a:r>
              <a:rPr lang="en-US"/>
              <a:t>Descriptor</a:t>
            </a:r>
            <a:endParaRPr lang="en-AU"/>
          </a:p>
        </p:txBody>
      </p:sp>
      <p:cxnSp>
        <p:nvCxnSpPr>
          <p:cNvPr id="12" name="Straight Connector 11">
            <a:extLst>
              <a:ext uri="{FF2B5EF4-FFF2-40B4-BE49-F238E27FC236}">
                <a16:creationId xmlns:a16="http://schemas.microsoft.com/office/drawing/2014/main" id="{3283C022-C11C-47A8-B2C6-38BBC7F57777}"/>
              </a:ext>
            </a:extLst>
          </p:cNvPr>
          <p:cNvCxnSpPr>
            <a:cxnSpLocks/>
          </p:cNvCxnSpPr>
          <p:nvPr userDrawn="1"/>
        </p:nvCxnSpPr>
        <p:spPr>
          <a:xfrm>
            <a:off x="360000" y="360000"/>
            <a:ext cx="0" cy="601200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941417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360362" y="1708149"/>
            <a:ext cx="11466511" cy="4018119"/>
          </a:xfrm>
          <a:prstGeom prst="rect">
            <a:avLst/>
          </a:prstGeom>
        </p:spPr>
        <p:txBody>
          <a:bodyPr>
            <a:noAutofit/>
          </a:bodyPr>
          <a:lstStyle>
            <a:lvl1pPr>
              <a:defRPr sz="1400">
                <a:solidFill>
                  <a:schemeClr val="tx1"/>
                </a:solidFill>
              </a:defRPr>
            </a:lvl1pPr>
            <a:lvl2pPr>
              <a:spcBef>
                <a:spcPts val="600"/>
              </a:spcBef>
              <a:defRPr sz="1400">
                <a:solidFill>
                  <a:schemeClr val="tx1"/>
                </a:solidFill>
              </a:defRPr>
            </a:lvl2pPr>
            <a:lvl3pPr>
              <a:spcBef>
                <a:spcPts val="600"/>
              </a:spcBef>
              <a:defRPr sz="1400">
                <a:solidFill>
                  <a:schemeClr val="tx1"/>
                </a:solidFill>
              </a:defRPr>
            </a:lvl3pPr>
            <a:lvl4pPr>
              <a:spcBef>
                <a:spcPts val="600"/>
              </a:spcBef>
              <a:defRPr sz="1400">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17"/>
          <p:cNvSpPr>
            <a:spLocks noGrp="1"/>
          </p:cNvSpPr>
          <p:nvPr>
            <p:ph type="body" sz="quarter" idx="15" hasCustomPrompt="1"/>
          </p:nvPr>
        </p:nvSpPr>
        <p:spPr>
          <a:xfrm>
            <a:off x="6096000" y="6393509"/>
            <a:ext cx="4670778" cy="197792"/>
          </a:xfrm>
          <a:prstGeom prst="rect">
            <a:avLst/>
          </a:prstGeom>
        </p:spPr>
        <p:txBody>
          <a:bodyPr anchor="ctr">
            <a:noAutofit/>
          </a:bodyPr>
          <a:lstStyle>
            <a:lvl1pPr>
              <a:spcBef>
                <a:spcPts val="600"/>
              </a:spcBef>
              <a:defRPr sz="800">
                <a:solidFill>
                  <a:schemeClr val="tx1"/>
                </a:solidFill>
              </a:defRPr>
            </a:lvl1pPr>
          </a:lstStyle>
          <a:p>
            <a:pPr lvl="0"/>
            <a:r>
              <a:rPr lang="en-US"/>
              <a:t>Click to add footer text</a:t>
            </a:r>
          </a:p>
        </p:txBody>
      </p:sp>
      <p:sp>
        <p:nvSpPr>
          <p:cNvPr id="11" name="Title Placeholder 1"/>
          <p:cNvSpPr>
            <a:spLocks noGrp="1"/>
          </p:cNvSpPr>
          <p:nvPr>
            <p:ph type="title"/>
          </p:nvPr>
        </p:nvSpPr>
        <p:spPr>
          <a:xfrm>
            <a:off x="359999" y="430717"/>
            <a:ext cx="11466875" cy="404119"/>
          </a:xfrm>
          <a:prstGeom prst="rect">
            <a:avLst/>
          </a:prstGeom>
        </p:spPr>
        <p:txBody>
          <a:bodyPr vert="horz" lIns="0" tIns="0" rIns="0" bIns="0" rtlCol="0" anchor="t">
            <a:noAutofit/>
          </a:bodyPr>
          <a:lstStyle/>
          <a:p>
            <a:r>
              <a:rPr lang="en-US"/>
              <a:t>Click to edit Master title style</a:t>
            </a:r>
            <a:endParaRPr lang="en-GB"/>
          </a:p>
        </p:txBody>
      </p:sp>
      <p:sp>
        <p:nvSpPr>
          <p:cNvPr id="14" name="Text Placeholder 2"/>
          <p:cNvSpPr>
            <a:spLocks noGrp="1"/>
          </p:cNvSpPr>
          <p:nvPr>
            <p:ph type="body" sz="quarter" idx="16"/>
          </p:nvPr>
        </p:nvSpPr>
        <p:spPr>
          <a:xfrm>
            <a:off x="357188" y="909635"/>
            <a:ext cx="11477331" cy="396875"/>
          </a:xfrm>
          <a:prstGeom prst="rect">
            <a:avLst/>
          </a:prstGeom>
        </p:spPr>
        <p:txBody>
          <a:bodyPr/>
          <a:lstStyle>
            <a:lvl1pPr>
              <a:defRPr sz="1800"/>
            </a:lvl1pPr>
          </a:lstStyle>
          <a:p>
            <a:pPr lvl="0"/>
            <a:r>
              <a:rPr lang="en-US"/>
              <a:t>Click to edit Master text styles</a:t>
            </a:r>
          </a:p>
        </p:txBody>
      </p:sp>
      <p:sp>
        <p:nvSpPr>
          <p:cNvPr id="15" name="Slide Number Placeholder 5"/>
          <p:cNvSpPr>
            <a:spLocks noGrp="1"/>
          </p:cNvSpPr>
          <p:nvPr>
            <p:ph type="sldNum" sz="quarter" idx="4"/>
          </p:nvPr>
        </p:nvSpPr>
        <p:spPr>
          <a:xfrm>
            <a:off x="10856913" y="6394275"/>
            <a:ext cx="969962" cy="196850"/>
          </a:xfrm>
          <a:prstGeom prst="rect">
            <a:avLst/>
          </a:prstGeom>
        </p:spPr>
        <p:txBody>
          <a:bodyPr vert="horz" lIns="0" tIns="0" rIns="0" bIns="0" rtlCol="0" anchor="ctr"/>
          <a:lstStyle>
            <a:lvl1pPr algn="r">
              <a:defRPr sz="1000">
                <a:solidFill>
                  <a:schemeClr val="tx1"/>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375128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706">
          <p15:clr>
            <a:srgbClr val="FBAE40"/>
          </p15:clr>
        </p15:guide>
        <p15:guide id="2" pos="5042">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nd 1 x content - no sub heading">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359999" y="1708150"/>
            <a:ext cx="11466873" cy="4018118"/>
          </a:xfrm>
          <a:prstGeom prst="rect">
            <a:avLst/>
          </a:prstGeom>
        </p:spPr>
        <p:txBody>
          <a:bodyPr>
            <a:noAutofit/>
          </a:bodyPr>
          <a:lstStyle>
            <a:lvl1pPr>
              <a:defRPr sz="1600" b="0">
                <a:solidFill>
                  <a:schemeClr val="tx1"/>
                </a:solidFill>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Title Placeholder 1"/>
          <p:cNvSpPr>
            <a:spLocks noGrp="1"/>
          </p:cNvSpPr>
          <p:nvPr>
            <p:ph type="title" hasCustomPrompt="1"/>
          </p:nvPr>
        </p:nvSpPr>
        <p:spPr>
          <a:xfrm>
            <a:off x="359999" y="430717"/>
            <a:ext cx="11466875" cy="404119"/>
          </a:xfrm>
          <a:prstGeom prst="rect">
            <a:avLst/>
          </a:prstGeom>
        </p:spPr>
        <p:txBody>
          <a:bodyPr vert="horz" lIns="0" tIns="0" rIns="0" bIns="0" rtlCol="0" anchor="t">
            <a:noAutofit/>
          </a:bodyPr>
          <a:lstStyle>
            <a:lvl1pPr>
              <a:defRPr/>
            </a:lvl1pPr>
          </a:lstStyle>
          <a:p>
            <a:r>
              <a:rPr lang="en-GB"/>
              <a:t>Click to edit master title style</a:t>
            </a:r>
          </a:p>
        </p:txBody>
      </p:sp>
      <p:sp>
        <p:nvSpPr>
          <p:cNvPr id="15" name="Slide Number Placeholder 5"/>
          <p:cNvSpPr>
            <a:spLocks noGrp="1"/>
          </p:cNvSpPr>
          <p:nvPr>
            <p:ph type="sldNum" sz="quarter" idx="4"/>
          </p:nvPr>
        </p:nvSpPr>
        <p:spPr>
          <a:xfrm>
            <a:off x="10856913" y="6394275"/>
            <a:ext cx="969962" cy="196850"/>
          </a:xfrm>
          <a:prstGeom prst="rect">
            <a:avLst/>
          </a:prstGeom>
        </p:spPr>
        <p:txBody>
          <a:bodyPr vert="horz" lIns="0" tIns="0" rIns="0" bIns="0" rtlCol="0" anchor="ctr"/>
          <a:lstStyle>
            <a:lvl1pPr algn="r">
              <a:defRPr sz="1000">
                <a:solidFill>
                  <a:schemeClr val="tx1"/>
                </a:solidFill>
              </a:defRPr>
            </a:lvl1pPr>
          </a:lstStyle>
          <a:p>
            <a:fld id="{330EA680-D336-4FF7-8B7A-9848BB0A1C32}" type="slidenum">
              <a:rPr lang="en-US" smtClean="0"/>
              <a:t>‹#›</a:t>
            </a:fld>
            <a:endParaRPr lang="en-US"/>
          </a:p>
        </p:txBody>
      </p:sp>
      <p:sp>
        <p:nvSpPr>
          <p:cNvPr id="9" name="Text Placeholder 17"/>
          <p:cNvSpPr>
            <a:spLocks noGrp="1"/>
          </p:cNvSpPr>
          <p:nvPr>
            <p:ph type="body" sz="quarter" idx="18" hasCustomPrompt="1"/>
          </p:nvPr>
        </p:nvSpPr>
        <p:spPr>
          <a:xfrm>
            <a:off x="6096000" y="6393509"/>
            <a:ext cx="4670778" cy="197792"/>
          </a:xfrm>
          <a:prstGeom prst="rect">
            <a:avLst/>
          </a:prstGeom>
        </p:spPr>
        <p:txBody>
          <a:bodyPr anchor="ctr">
            <a:noAutofit/>
          </a:bodyPr>
          <a:lstStyle>
            <a:lvl1pPr>
              <a:spcBef>
                <a:spcPts val="600"/>
              </a:spcBef>
              <a:defRPr sz="800">
                <a:solidFill>
                  <a:schemeClr val="tx1"/>
                </a:solidFill>
              </a:defRPr>
            </a:lvl1pPr>
          </a:lstStyle>
          <a:p>
            <a:pPr lvl="0"/>
            <a:r>
              <a:rPr lang="en-US"/>
              <a:t>Click to add footer text</a:t>
            </a:r>
          </a:p>
        </p:txBody>
      </p:sp>
    </p:spTree>
    <p:extLst>
      <p:ext uri="{BB962C8B-B14F-4D97-AF65-F5344CB8AC3E}">
        <p14:creationId xmlns:p14="http://schemas.microsoft.com/office/powerpoint/2010/main" val="1252121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8" name="Rectangle 2">
            <a:extLst>
              <a:ext uri="{FF2B5EF4-FFF2-40B4-BE49-F238E27FC236}">
                <a16:creationId xmlns:a16="http://schemas.microsoft.com/office/drawing/2014/main" id="{719CB8DD-1BCE-42DC-8ED4-ADD932A9D3EE}"/>
              </a:ext>
            </a:extLst>
          </p:cNvPr>
          <p:cNvSpPr>
            <a:spLocks noGrp="1" noChangeArrowheads="1"/>
          </p:cNvSpPr>
          <p:nvPr>
            <p:ph type="ctrTitle"/>
          </p:nvPr>
        </p:nvSpPr>
        <p:spPr>
          <a:xfrm>
            <a:off x="719403" y="1814959"/>
            <a:ext cx="10363200" cy="1470025"/>
          </a:xfrm>
          <a:prstGeom prst="rect">
            <a:avLst/>
          </a:prstGeom>
        </p:spPr>
        <p:txBody>
          <a:bodyPr/>
          <a:lstStyle>
            <a:lvl1pPr algn="l">
              <a:defRPr sz="3600">
                <a:solidFill>
                  <a:schemeClr val="bg1"/>
                </a:solidFill>
              </a:defRPr>
            </a:lvl1pPr>
          </a:lstStyle>
          <a:p>
            <a:r>
              <a:rPr lang="en-US"/>
              <a:t>Click to edit Master title style</a:t>
            </a:r>
            <a:endParaRPr lang="en-AU"/>
          </a:p>
        </p:txBody>
      </p:sp>
      <p:sp>
        <p:nvSpPr>
          <p:cNvPr id="9" name="Rectangle 3">
            <a:extLst>
              <a:ext uri="{FF2B5EF4-FFF2-40B4-BE49-F238E27FC236}">
                <a16:creationId xmlns:a16="http://schemas.microsoft.com/office/drawing/2014/main" id="{E694FC0A-2BEB-4EA0-A1B0-85FCC621DF62}"/>
              </a:ext>
            </a:extLst>
          </p:cNvPr>
          <p:cNvSpPr>
            <a:spLocks noGrp="1" noChangeArrowheads="1"/>
          </p:cNvSpPr>
          <p:nvPr>
            <p:ph type="subTitle" idx="1"/>
          </p:nvPr>
        </p:nvSpPr>
        <p:spPr>
          <a:xfrm>
            <a:off x="719403" y="3908449"/>
            <a:ext cx="8160907" cy="888702"/>
          </a:xfrm>
          <a:prstGeom prst="rect">
            <a:avLst/>
          </a:prstGeom>
        </p:spPr>
        <p:txBody>
          <a:bodyPr/>
          <a:lstStyle>
            <a:lvl1pPr marL="0" indent="0" algn="l">
              <a:buFontTx/>
              <a:buNone/>
              <a:defRPr>
                <a:solidFill>
                  <a:schemeClr val="bg1"/>
                </a:solidFill>
              </a:defRPr>
            </a:lvl1pPr>
          </a:lstStyle>
          <a:p>
            <a:r>
              <a:rPr lang="en-US"/>
              <a:t>Click to edit Master subtitle style</a:t>
            </a:r>
            <a:endParaRPr lang="en-AU"/>
          </a:p>
        </p:txBody>
      </p:sp>
      <p:sp>
        <p:nvSpPr>
          <p:cNvPr id="3" name="Text Placeholder 2">
            <a:extLst>
              <a:ext uri="{FF2B5EF4-FFF2-40B4-BE49-F238E27FC236}">
                <a16:creationId xmlns:a16="http://schemas.microsoft.com/office/drawing/2014/main" id="{7F7C4B23-28BB-4788-A2E2-7C8731F00A69}"/>
              </a:ext>
            </a:extLst>
          </p:cNvPr>
          <p:cNvSpPr>
            <a:spLocks noGrp="1"/>
          </p:cNvSpPr>
          <p:nvPr>
            <p:ph type="body" sz="quarter" idx="10" hasCustomPrompt="1"/>
          </p:nvPr>
        </p:nvSpPr>
        <p:spPr>
          <a:xfrm>
            <a:off x="719137" y="5121275"/>
            <a:ext cx="5299277" cy="498129"/>
          </a:xfrm>
          <a:prstGeom prst="rect">
            <a:avLst/>
          </a:prstGeom>
        </p:spPr>
        <p:txBody>
          <a:bodyPr/>
          <a:lstStyle>
            <a:lvl1pPr marL="0" indent="0">
              <a:buNone/>
              <a:defRPr sz="1800">
                <a:solidFill>
                  <a:schemeClr val="bg1"/>
                </a:solidFill>
              </a:defRPr>
            </a:lvl1pPr>
            <a:lvl2pPr marL="457200" indent="0">
              <a:buNone/>
              <a:defRPr/>
            </a:lvl2pPr>
          </a:lstStyle>
          <a:p>
            <a:pPr lvl="0"/>
            <a:r>
              <a:rPr lang="en-US"/>
              <a:t>DD month 2020</a:t>
            </a:r>
          </a:p>
        </p:txBody>
      </p:sp>
      <p:pic>
        <p:nvPicPr>
          <p:cNvPr id="6" name="Picture 5" descr="Icon&#10;&#10;Description automatically generated">
            <a:extLst>
              <a:ext uri="{FF2B5EF4-FFF2-40B4-BE49-F238E27FC236}">
                <a16:creationId xmlns:a16="http://schemas.microsoft.com/office/drawing/2014/main" id="{030E58D4-412E-4132-9C87-04BAF15CF4A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7" name="Picture 6" descr="Icon&#10;&#10;Description automatically generated with medium confidence">
            <a:extLst>
              <a:ext uri="{FF2B5EF4-FFF2-40B4-BE49-F238E27FC236}">
                <a16:creationId xmlns:a16="http://schemas.microsoft.com/office/drawing/2014/main" id="{F94F8D10-29DD-4E78-9A4D-EA6ED60F6DE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13368" b="-8672"/>
          <a:stretch/>
        </p:blipFill>
        <p:spPr>
          <a:xfrm>
            <a:off x="-91440" y="-91440"/>
            <a:ext cx="6400800" cy="2468880"/>
          </a:xfrm>
          <a:prstGeom prst="rect">
            <a:avLst/>
          </a:prstGeom>
        </p:spPr>
      </p:pic>
      <p:pic>
        <p:nvPicPr>
          <p:cNvPr id="10" name="Picture 9" descr="Logo&#10;&#10;Description automatically generated">
            <a:extLst>
              <a:ext uri="{FF2B5EF4-FFF2-40B4-BE49-F238E27FC236}">
                <a16:creationId xmlns:a16="http://schemas.microsoft.com/office/drawing/2014/main" id="{E3A14EA2-8706-41BC-8FE3-ED62A283C1B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48720" y="5264727"/>
            <a:ext cx="2261221" cy="1271936"/>
          </a:xfrm>
          <a:prstGeom prst="rect">
            <a:avLst/>
          </a:prstGeom>
        </p:spPr>
      </p:pic>
    </p:spTree>
    <p:extLst>
      <p:ext uri="{BB962C8B-B14F-4D97-AF65-F5344CB8AC3E}">
        <p14:creationId xmlns:p14="http://schemas.microsoft.com/office/powerpoint/2010/main" val="360359071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7584906"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r>
              <a:rPr lang="en-GB"/>
              <a:t>Your text here</a:t>
            </a:r>
          </a:p>
          <a:p>
            <a:pPr lvl="1"/>
            <a:r>
              <a:rPr lang="en-GB"/>
              <a:t>Text level 1</a:t>
            </a:r>
          </a:p>
          <a:p>
            <a:pPr lvl="2"/>
            <a:r>
              <a:rPr lang="en-GB"/>
              <a:t>Text level 2</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4786" y="1362425"/>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a:xfrm>
            <a:off x="382932" y="6219234"/>
            <a:ext cx="360037" cy="365125"/>
          </a:xfrm>
        </p:spPr>
        <p:txBody>
          <a:bodyPr/>
          <a:lstStyle/>
          <a:p>
            <a:fld id="{D61AABEC-672F-4B68-B914-690DA978312C}" type="slidenum">
              <a:rPr lang="en-GB" smtClean="0"/>
              <a:pPr/>
              <a:t>‹#›</a:t>
            </a:fld>
            <a:r>
              <a:rPr lang="en-GB"/>
              <a:t> ‒ </a:t>
            </a:r>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a:xfrm>
            <a:off x="404786" y="61275"/>
            <a:ext cx="11382428" cy="424732"/>
          </a:xfrm>
          <a:prstGeom prst="rect">
            <a:avLst/>
          </a:prstGeom>
        </p:spPr>
        <p:txBody>
          <a:bodyPr/>
          <a:lstStyle>
            <a:lvl1pPr>
              <a:defRPr sz="2400" cap="none"/>
            </a:lvl1pPr>
          </a:lstStyle>
          <a:p>
            <a:r>
              <a:rPr lang="fr-FR" err="1"/>
              <a:t>Title</a:t>
            </a:r>
            <a:r>
              <a:rPr lang="fr-FR"/>
              <a:t> of the slide</a:t>
            </a:r>
          </a:p>
        </p:txBody>
      </p:sp>
      <p:pic>
        <p:nvPicPr>
          <p:cNvPr id="5" name="Picture 4">
            <a:extLst>
              <a:ext uri="{FF2B5EF4-FFF2-40B4-BE49-F238E27FC236}">
                <a16:creationId xmlns:a16="http://schemas.microsoft.com/office/drawing/2014/main" id="{50F53F58-309D-4528-837D-6EF4699846B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789528" y="6197968"/>
            <a:ext cx="396860" cy="429038"/>
          </a:xfrm>
          <a:prstGeom prst="rect">
            <a:avLst/>
          </a:prstGeom>
        </p:spPr>
      </p:pic>
      <p:sp>
        <p:nvSpPr>
          <p:cNvPr id="11" name="Rectangle 6">
            <a:extLst>
              <a:ext uri="{FF2B5EF4-FFF2-40B4-BE49-F238E27FC236}">
                <a16:creationId xmlns:a16="http://schemas.microsoft.com/office/drawing/2014/main" id="{11248475-A22A-49B6-938B-5F38C8E70B7F}"/>
              </a:ext>
            </a:extLst>
          </p:cNvPr>
          <p:cNvSpPr/>
          <p:nvPr userDrawn="1"/>
        </p:nvSpPr>
        <p:spPr>
          <a:xfrm>
            <a:off x="10705514" y="1119923"/>
            <a:ext cx="1486486" cy="182880"/>
          </a:xfrm>
          <a:custGeom>
            <a:avLst/>
            <a:gdLst>
              <a:gd name="connsiteX0" fmla="*/ 0 w 1486486"/>
              <a:gd name="connsiteY0" fmla="*/ 0 h 178191"/>
              <a:gd name="connsiteX1" fmla="*/ 1486486 w 1486486"/>
              <a:gd name="connsiteY1" fmla="*/ 0 h 178191"/>
              <a:gd name="connsiteX2" fmla="*/ 1486486 w 1486486"/>
              <a:gd name="connsiteY2" fmla="*/ 178191 h 178191"/>
              <a:gd name="connsiteX3" fmla="*/ 0 w 1486486"/>
              <a:gd name="connsiteY3" fmla="*/ 178191 h 178191"/>
              <a:gd name="connsiteX4" fmla="*/ 0 w 1486486"/>
              <a:gd name="connsiteY4" fmla="*/ 0 h 178191"/>
              <a:gd name="connsiteX0" fmla="*/ 93784 w 1486486"/>
              <a:gd name="connsiteY0" fmla="*/ 0 h 182880"/>
              <a:gd name="connsiteX1" fmla="*/ 1486486 w 1486486"/>
              <a:gd name="connsiteY1" fmla="*/ 4689 h 182880"/>
              <a:gd name="connsiteX2" fmla="*/ 1486486 w 1486486"/>
              <a:gd name="connsiteY2" fmla="*/ 182880 h 182880"/>
              <a:gd name="connsiteX3" fmla="*/ 0 w 1486486"/>
              <a:gd name="connsiteY3" fmla="*/ 182880 h 182880"/>
              <a:gd name="connsiteX4" fmla="*/ 93784 w 1486486"/>
              <a:gd name="connsiteY4" fmla="*/ 0 h 182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6486" h="182880">
                <a:moveTo>
                  <a:pt x="93784" y="0"/>
                </a:moveTo>
                <a:lnTo>
                  <a:pt x="1486486" y="4689"/>
                </a:lnTo>
                <a:lnTo>
                  <a:pt x="1486486" y="182880"/>
                </a:lnTo>
                <a:lnTo>
                  <a:pt x="0" y="182880"/>
                </a:lnTo>
                <a:lnTo>
                  <a:pt x="93784" y="0"/>
                </a:lnTo>
                <a:close/>
              </a:path>
            </a:pathLst>
          </a:custGeom>
          <a:solidFill>
            <a:srgbClr val="1737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2428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F453BFFA-6BBD-49B4-9064-4686F5E9F31A}"/>
              </a:ext>
            </a:extLst>
          </p:cNvPr>
          <p:cNvSpPr/>
          <p:nvPr userDrawn="1"/>
        </p:nvSpPr>
        <p:spPr>
          <a:xfrm>
            <a:off x="10774687" y="1104773"/>
            <a:ext cx="1367682" cy="215444"/>
          </a:xfrm>
          <a:prstGeom prst="rect">
            <a:avLst/>
          </a:prstGeom>
        </p:spPr>
        <p:txBody>
          <a:bodyPr wrap="none">
            <a:spAutoFit/>
          </a:bodyPr>
          <a:lstStyle/>
          <a:p>
            <a:pPr marL="0" marR="0" lvl="0" indent="0" algn="r" defTabSz="924282"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solidFill>
                <a:effectLst/>
                <a:uLnTx/>
                <a:uFillTx/>
                <a:latin typeface="Calibri Light" charset="0"/>
                <a:ea typeface="Calibri Light" charset="0"/>
                <a:cs typeface="Calibri Light" charset="0"/>
              </a:rPr>
              <a:t>Sensitive: NSW Government </a:t>
            </a:r>
            <a:endParaRPr kumimoji="0" lang="en-AU" sz="800" b="0" i="0" u="none" strike="noStrike" kern="1200" cap="none" spc="0" normalizeH="0" baseline="0" noProof="0">
              <a:ln>
                <a:noFill/>
              </a:ln>
              <a:solidFill>
                <a:srgbClr val="FFFFFF"/>
              </a:solidFill>
              <a:effectLst/>
              <a:uLnTx/>
              <a:uFillTx/>
              <a:latin typeface="Calibri Light" charset="0"/>
              <a:ea typeface="Calibri Light" charset="0"/>
              <a:cs typeface="Calibri Light" charset="0"/>
            </a:endParaRPr>
          </a:p>
        </p:txBody>
      </p:sp>
    </p:spTree>
    <p:extLst>
      <p:ext uri="{BB962C8B-B14F-4D97-AF65-F5344CB8AC3E}">
        <p14:creationId xmlns:p14="http://schemas.microsoft.com/office/powerpoint/2010/main" val="3250208384"/>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1 Column Content">
    <p:spTree>
      <p:nvGrpSpPr>
        <p:cNvPr id="1" name=""/>
        <p:cNvGrpSpPr/>
        <p:nvPr/>
      </p:nvGrpSpPr>
      <p:grpSpPr>
        <a:xfrm>
          <a:off x="0" y="0"/>
          <a:ext cx="0" cy="0"/>
          <a:chOff x="0" y="0"/>
          <a:chExt cx="0" cy="0"/>
        </a:xfrm>
      </p:grpSpPr>
      <p:sp>
        <p:nvSpPr>
          <p:cNvPr id="8" name="Content Placeholder 3">
            <a:extLst>
              <a:ext uri="{FF2B5EF4-FFF2-40B4-BE49-F238E27FC236}">
                <a16:creationId xmlns:a16="http://schemas.microsoft.com/office/drawing/2014/main" id="{8B561EF8-1224-43F9-9074-96C48F6BA227}"/>
              </a:ext>
            </a:extLst>
          </p:cNvPr>
          <p:cNvSpPr>
            <a:spLocks noGrp="1"/>
          </p:cNvSpPr>
          <p:nvPr>
            <p:ph sz="quarter" idx="12"/>
          </p:nvPr>
        </p:nvSpPr>
        <p:spPr>
          <a:xfrm>
            <a:off x="593275" y="1853988"/>
            <a:ext cx="11010859"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3">
            <a:extLst>
              <a:ext uri="{FF2B5EF4-FFF2-40B4-BE49-F238E27FC236}">
                <a16:creationId xmlns:a16="http://schemas.microsoft.com/office/drawing/2014/main" id="{3AEACA4E-069D-4351-A086-47231CC09669}"/>
              </a:ext>
            </a:extLst>
          </p:cNvPr>
          <p:cNvSpPr>
            <a:spLocks noGrp="1"/>
          </p:cNvSpPr>
          <p:nvPr>
            <p:ph type="sldNum" sz="quarter" idx="14"/>
          </p:nvPr>
        </p:nvSpPr>
        <p:spPr/>
        <p:txBody>
          <a:bodyPr/>
          <a:lstStyle/>
          <a:p>
            <a:fld id="{330EA680-D336-4FF7-8B7A-9848BB0A1C32}" type="slidenum">
              <a:rPr lang="en-US" smtClean="0"/>
              <a:t>‹#›</a:t>
            </a:fld>
            <a:endParaRPr lang="en-US"/>
          </a:p>
        </p:txBody>
      </p:sp>
      <p:sp>
        <p:nvSpPr>
          <p:cNvPr id="5" name="Footer Placeholder 4">
            <a:extLst>
              <a:ext uri="{FF2B5EF4-FFF2-40B4-BE49-F238E27FC236}">
                <a16:creationId xmlns:a16="http://schemas.microsoft.com/office/drawing/2014/main" id="{900CBB9F-C8C0-42D7-BCE5-B450F147055C}"/>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Tree>
    <p:extLst>
      <p:ext uri="{BB962C8B-B14F-4D97-AF65-F5344CB8AC3E}">
        <p14:creationId xmlns:p14="http://schemas.microsoft.com/office/powerpoint/2010/main" val="1480023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220F2C6-8AF7-425F-B8B5-FF6F932BD80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4554"/>
            <a:ext cx="12192000" cy="6848892"/>
          </a:xfrm>
          <a:prstGeom prst="rect">
            <a:avLst/>
          </a:prstGeom>
        </p:spPr>
      </p:pic>
      <p:sp>
        <p:nvSpPr>
          <p:cNvPr id="8" name="Rectangle 2">
            <a:extLst>
              <a:ext uri="{FF2B5EF4-FFF2-40B4-BE49-F238E27FC236}">
                <a16:creationId xmlns:a16="http://schemas.microsoft.com/office/drawing/2014/main" id="{719CB8DD-1BCE-42DC-8ED4-ADD932A9D3EE}"/>
              </a:ext>
            </a:extLst>
          </p:cNvPr>
          <p:cNvSpPr>
            <a:spLocks noGrp="1" noChangeArrowheads="1"/>
          </p:cNvSpPr>
          <p:nvPr>
            <p:ph type="ctrTitle"/>
          </p:nvPr>
        </p:nvSpPr>
        <p:spPr>
          <a:xfrm>
            <a:off x="719403" y="1814959"/>
            <a:ext cx="10363200" cy="1470025"/>
          </a:xfrm>
          <a:prstGeom prst="rect">
            <a:avLst/>
          </a:prstGeom>
        </p:spPr>
        <p:txBody>
          <a:bodyPr/>
          <a:lstStyle>
            <a:lvl1pPr algn="l">
              <a:defRPr sz="3600">
                <a:solidFill>
                  <a:schemeClr val="bg1"/>
                </a:solidFill>
              </a:defRPr>
            </a:lvl1pPr>
          </a:lstStyle>
          <a:p>
            <a:r>
              <a:rPr lang="en-US"/>
              <a:t>Click to edit Master title style</a:t>
            </a:r>
            <a:endParaRPr lang="en-AU"/>
          </a:p>
        </p:txBody>
      </p:sp>
      <p:sp>
        <p:nvSpPr>
          <p:cNvPr id="9" name="Rectangle 3">
            <a:extLst>
              <a:ext uri="{FF2B5EF4-FFF2-40B4-BE49-F238E27FC236}">
                <a16:creationId xmlns:a16="http://schemas.microsoft.com/office/drawing/2014/main" id="{E694FC0A-2BEB-4EA0-A1B0-85FCC621DF62}"/>
              </a:ext>
            </a:extLst>
          </p:cNvPr>
          <p:cNvSpPr>
            <a:spLocks noGrp="1" noChangeArrowheads="1"/>
          </p:cNvSpPr>
          <p:nvPr>
            <p:ph type="subTitle" idx="1"/>
          </p:nvPr>
        </p:nvSpPr>
        <p:spPr>
          <a:xfrm>
            <a:off x="719403" y="3908449"/>
            <a:ext cx="8160907" cy="888702"/>
          </a:xfrm>
          <a:prstGeom prst="rect">
            <a:avLst/>
          </a:prstGeom>
        </p:spPr>
        <p:txBody>
          <a:bodyPr/>
          <a:lstStyle>
            <a:lvl1pPr marL="0" indent="0" algn="l">
              <a:buFontTx/>
              <a:buNone/>
              <a:defRPr>
                <a:solidFill>
                  <a:schemeClr val="bg1"/>
                </a:solidFill>
              </a:defRPr>
            </a:lvl1pPr>
          </a:lstStyle>
          <a:p>
            <a:r>
              <a:rPr lang="en-US"/>
              <a:t>Click to edit Master subtitle style</a:t>
            </a:r>
            <a:endParaRPr lang="en-AU"/>
          </a:p>
        </p:txBody>
      </p:sp>
      <p:sp>
        <p:nvSpPr>
          <p:cNvPr id="3" name="Text Placeholder 2">
            <a:extLst>
              <a:ext uri="{FF2B5EF4-FFF2-40B4-BE49-F238E27FC236}">
                <a16:creationId xmlns:a16="http://schemas.microsoft.com/office/drawing/2014/main" id="{7F7C4B23-28BB-4788-A2E2-7C8731F00A69}"/>
              </a:ext>
            </a:extLst>
          </p:cNvPr>
          <p:cNvSpPr>
            <a:spLocks noGrp="1"/>
          </p:cNvSpPr>
          <p:nvPr>
            <p:ph type="body" sz="quarter" idx="10" hasCustomPrompt="1"/>
          </p:nvPr>
        </p:nvSpPr>
        <p:spPr>
          <a:xfrm>
            <a:off x="719137" y="5121275"/>
            <a:ext cx="5299277" cy="498129"/>
          </a:xfrm>
          <a:prstGeom prst="rect">
            <a:avLst/>
          </a:prstGeom>
        </p:spPr>
        <p:txBody>
          <a:bodyPr/>
          <a:lstStyle>
            <a:lvl1pPr marL="0" indent="0">
              <a:buNone/>
              <a:defRPr sz="1800">
                <a:solidFill>
                  <a:schemeClr val="bg1"/>
                </a:solidFill>
              </a:defRPr>
            </a:lvl1pPr>
            <a:lvl2pPr marL="457200" indent="0">
              <a:buNone/>
              <a:defRPr/>
            </a:lvl2pPr>
          </a:lstStyle>
          <a:p>
            <a:pPr lvl="0"/>
            <a:r>
              <a:rPr lang="en-US"/>
              <a:t>DD month 2020</a:t>
            </a:r>
          </a:p>
        </p:txBody>
      </p:sp>
    </p:spTree>
    <p:extLst>
      <p:ext uri="{BB962C8B-B14F-4D97-AF65-F5344CB8AC3E}">
        <p14:creationId xmlns:p14="http://schemas.microsoft.com/office/powerpoint/2010/main" val="20683484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7584906"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r>
              <a:rPr lang="en-GB"/>
              <a:t>Your text here</a:t>
            </a:r>
          </a:p>
          <a:p>
            <a:pPr lvl="1"/>
            <a:r>
              <a:rPr lang="en-GB"/>
              <a:t>Text level 1</a:t>
            </a:r>
          </a:p>
          <a:p>
            <a:pPr lvl="2"/>
            <a:r>
              <a:rPr lang="en-GB"/>
              <a:t>Text level 2</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4786" y="1362425"/>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a:xfrm>
            <a:off x="382932" y="6219234"/>
            <a:ext cx="360037" cy="365125"/>
          </a:xfrm>
        </p:spPr>
        <p:txBody>
          <a:bodyPr/>
          <a:lstStyle/>
          <a:p>
            <a:fld id="{D61AABEC-672F-4B68-B914-690DA978312C}" type="slidenum">
              <a:rPr lang="en-GB" smtClean="0"/>
              <a:pPr/>
              <a:t>‹#›</a:t>
            </a:fld>
            <a:r>
              <a:rPr lang="en-GB"/>
              <a:t> ‒ </a:t>
            </a:r>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a:xfrm>
            <a:off x="404786" y="61275"/>
            <a:ext cx="11382428" cy="424732"/>
          </a:xfrm>
          <a:prstGeom prst="rect">
            <a:avLst/>
          </a:prstGeom>
        </p:spPr>
        <p:txBody>
          <a:bodyPr/>
          <a:lstStyle>
            <a:lvl1pPr>
              <a:defRPr sz="2400" cap="none"/>
            </a:lvl1pPr>
          </a:lstStyle>
          <a:p>
            <a:r>
              <a:rPr lang="fr-FR" err="1"/>
              <a:t>Title</a:t>
            </a:r>
            <a:r>
              <a:rPr lang="fr-FR"/>
              <a:t> of the slide</a:t>
            </a:r>
          </a:p>
        </p:txBody>
      </p:sp>
      <p:pic>
        <p:nvPicPr>
          <p:cNvPr id="5" name="Picture 4">
            <a:extLst>
              <a:ext uri="{FF2B5EF4-FFF2-40B4-BE49-F238E27FC236}">
                <a16:creationId xmlns:a16="http://schemas.microsoft.com/office/drawing/2014/main" id="{50F53F58-309D-4528-837D-6EF4699846B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789528" y="6197968"/>
            <a:ext cx="396860" cy="429038"/>
          </a:xfrm>
          <a:prstGeom prst="rect">
            <a:avLst/>
          </a:prstGeom>
        </p:spPr>
      </p:pic>
      <p:sp>
        <p:nvSpPr>
          <p:cNvPr id="11" name="Rectangle 6">
            <a:extLst>
              <a:ext uri="{FF2B5EF4-FFF2-40B4-BE49-F238E27FC236}">
                <a16:creationId xmlns:a16="http://schemas.microsoft.com/office/drawing/2014/main" id="{11248475-A22A-49B6-938B-5F38C8E70B7F}"/>
              </a:ext>
            </a:extLst>
          </p:cNvPr>
          <p:cNvSpPr/>
          <p:nvPr userDrawn="1"/>
        </p:nvSpPr>
        <p:spPr>
          <a:xfrm>
            <a:off x="10705514" y="1119923"/>
            <a:ext cx="1486486" cy="182880"/>
          </a:xfrm>
          <a:custGeom>
            <a:avLst/>
            <a:gdLst>
              <a:gd name="connsiteX0" fmla="*/ 0 w 1486486"/>
              <a:gd name="connsiteY0" fmla="*/ 0 h 178191"/>
              <a:gd name="connsiteX1" fmla="*/ 1486486 w 1486486"/>
              <a:gd name="connsiteY1" fmla="*/ 0 h 178191"/>
              <a:gd name="connsiteX2" fmla="*/ 1486486 w 1486486"/>
              <a:gd name="connsiteY2" fmla="*/ 178191 h 178191"/>
              <a:gd name="connsiteX3" fmla="*/ 0 w 1486486"/>
              <a:gd name="connsiteY3" fmla="*/ 178191 h 178191"/>
              <a:gd name="connsiteX4" fmla="*/ 0 w 1486486"/>
              <a:gd name="connsiteY4" fmla="*/ 0 h 178191"/>
              <a:gd name="connsiteX0" fmla="*/ 93784 w 1486486"/>
              <a:gd name="connsiteY0" fmla="*/ 0 h 182880"/>
              <a:gd name="connsiteX1" fmla="*/ 1486486 w 1486486"/>
              <a:gd name="connsiteY1" fmla="*/ 4689 h 182880"/>
              <a:gd name="connsiteX2" fmla="*/ 1486486 w 1486486"/>
              <a:gd name="connsiteY2" fmla="*/ 182880 h 182880"/>
              <a:gd name="connsiteX3" fmla="*/ 0 w 1486486"/>
              <a:gd name="connsiteY3" fmla="*/ 182880 h 182880"/>
              <a:gd name="connsiteX4" fmla="*/ 93784 w 1486486"/>
              <a:gd name="connsiteY4" fmla="*/ 0 h 182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6486" h="182880">
                <a:moveTo>
                  <a:pt x="93784" y="0"/>
                </a:moveTo>
                <a:lnTo>
                  <a:pt x="1486486" y="4689"/>
                </a:lnTo>
                <a:lnTo>
                  <a:pt x="1486486" y="182880"/>
                </a:lnTo>
                <a:lnTo>
                  <a:pt x="0" y="182880"/>
                </a:lnTo>
                <a:lnTo>
                  <a:pt x="93784" y="0"/>
                </a:lnTo>
                <a:close/>
              </a:path>
            </a:pathLst>
          </a:custGeom>
          <a:solidFill>
            <a:srgbClr val="1737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2428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F453BFFA-6BBD-49B4-9064-4686F5E9F31A}"/>
              </a:ext>
            </a:extLst>
          </p:cNvPr>
          <p:cNvSpPr/>
          <p:nvPr userDrawn="1"/>
        </p:nvSpPr>
        <p:spPr>
          <a:xfrm>
            <a:off x="10774687" y="1104773"/>
            <a:ext cx="1367682" cy="215444"/>
          </a:xfrm>
          <a:prstGeom prst="rect">
            <a:avLst/>
          </a:prstGeom>
        </p:spPr>
        <p:txBody>
          <a:bodyPr wrap="none">
            <a:spAutoFit/>
          </a:bodyPr>
          <a:lstStyle/>
          <a:p>
            <a:pPr marL="0" marR="0" lvl="0" indent="0" algn="r" defTabSz="924282"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solidFill>
                <a:effectLst/>
                <a:uLnTx/>
                <a:uFillTx/>
                <a:latin typeface="Calibri Light" charset="0"/>
                <a:ea typeface="Calibri Light" charset="0"/>
                <a:cs typeface="Calibri Light" charset="0"/>
              </a:rPr>
              <a:t>Sensitive: NSW Government </a:t>
            </a:r>
            <a:endParaRPr kumimoji="0" lang="en-AU" sz="800" b="0" i="0" u="none" strike="noStrike" kern="1200" cap="none" spc="0" normalizeH="0" baseline="0" noProof="0">
              <a:ln>
                <a:noFill/>
              </a:ln>
              <a:solidFill>
                <a:srgbClr val="FFFFFF"/>
              </a:solidFill>
              <a:effectLst/>
              <a:uLnTx/>
              <a:uFillTx/>
              <a:latin typeface="Calibri Light" charset="0"/>
              <a:ea typeface="Calibri Light" charset="0"/>
              <a:cs typeface="Calibri Light" charset="0"/>
            </a:endParaRPr>
          </a:p>
        </p:txBody>
      </p:sp>
    </p:spTree>
    <p:extLst>
      <p:ext uri="{BB962C8B-B14F-4D97-AF65-F5344CB8AC3E}">
        <p14:creationId xmlns:p14="http://schemas.microsoft.com/office/powerpoint/2010/main" val="5275404"/>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1C1630E-75DD-4988-B412-5BC99B5B5062}"/>
              </a:ext>
            </a:extLst>
          </p:cNvPr>
          <p:cNvSpPr/>
          <p:nvPr userDrawn="1"/>
        </p:nvSpPr>
        <p:spPr>
          <a:xfrm>
            <a:off x="-1" y="3330000"/>
            <a:ext cx="12192001" cy="3528000"/>
          </a:xfrm>
          <a:prstGeom prst="rect">
            <a:avLst/>
          </a:prstGeom>
          <a:solidFill>
            <a:srgbClr val="6300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endParaRPr>
          </a:p>
        </p:txBody>
      </p:sp>
      <p:sp>
        <p:nvSpPr>
          <p:cNvPr id="12" name="Rectangle 11">
            <a:extLst>
              <a:ext uri="{FF2B5EF4-FFF2-40B4-BE49-F238E27FC236}">
                <a16:creationId xmlns:a16="http://schemas.microsoft.com/office/drawing/2014/main" id="{106A6961-24E6-4839-AA27-A340B1809347}"/>
              </a:ext>
            </a:extLst>
          </p:cNvPr>
          <p:cNvSpPr/>
          <p:nvPr userDrawn="1"/>
        </p:nvSpPr>
        <p:spPr>
          <a:xfrm>
            <a:off x="-1" y="0"/>
            <a:ext cx="12192001" cy="1566000"/>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endParaRPr>
          </a:p>
        </p:txBody>
      </p:sp>
      <p:sp>
        <p:nvSpPr>
          <p:cNvPr id="4" name="Rectangle 3">
            <a:extLst>
              <a:ext uri="{FF2B5EF4-FFF2-40B4-BE49-F238E27FC236}">
                <a16:creationId xmlns:a16="http://schemas.microsoft.com/office/drawing/2014/main" id="{E57A2D9F-61E4-43DD-AEE4-7DB03212C80F}"/>
              </a:ext>
            </a:extLst>
          </p:cNvPr>
          <p:cNvSpPr/>
          <p:nvPr userDrawn="1"/>
        </p:nvSpPr>
        <p:spPr>
          <a:xfrm>
            <a:off x="-1" y="1566000"/>
            <a:ext cx="12192001" cy="176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endParaRPr>
          </a:p>
        </p:txBody>
      </p:sp>
      <p:sp>
        <p:nvSpPr>
          <p:cNvPr id="2" name="Title 1"/>
          <p:cNvSpPr>
            <a:spLocks noGrp="1"/>
          </p:cNvSpPr>
          <p:nvPr>
            <p:ph type="ctrTitle" hasCustomPrompt="1"/>
          </p:nvPr>
        </p:nvSpPr>
        <p:spPr>
          <a:xfrm>
            <a:off x="360000" y="3600000"/>
            <a:ext cx="7200000" cy="2387600"/>
          </a:xfrm>
          <a:ln>
            <a:noFill/>
          </a:ln>
        </p:spPr>
        <p:txBody>
          <a:bodyPr anchor="t">
            <a:normAutofit/>
          </a:bodyPr>
          <a:lstStyle>
            <a:lvl1pPr algn="l">
              <a:lnSpc>
                <a:spcPct val="90000"/>
              </a:lnSpc>
              <a:defRPr sz="4800">
                <a:solidFill>
                  <a:schemeClr val="bg1"/>
                </a:solidFill>
              </a:defRPr>
            </a:lvl1pPr>
          </a:lstStyle>
          <a:p>
            <a:r>
              <a:rPr lang="en-US"/>
              <a:t>Divider title</a:t>
            </a:r>
          </a:p>
        </p:txBody>
      </p:sp>
      <p:sp>
        <p:nvSpPr>
          <p:cNvPr id="11" name="Text Placeholder 10">
            <a:extLst>
              <a:ext uri="{FF2B5EF4-FFF2-40B4-BE49-F238E27FC236}">
                <a16:creationId xmlns:a16="http://schemas.microsoft.com/office/drawing/2014/main" id="{AA33BD13-5953-47AF-A601-951A768FEDA1}"/>
              </a:ext>
            </a:extLst>
          </p:cNvPr>
          <p:cNvSpPr>
            <a:spLocks noGrp="1"/>
          </p:cNvSpPr>
          <p:nvPr>
            <p:ph type="body" sz="quarter" idx="10" hasCustomPrompt="1"/>
          </p:nvPr>
        </p:nvSpPr>
        <p:spPr>
          <a:xfrm>
            <a:off x="359999" y="1908000"/>
            <a:ext cx="7200000" cy="1089583"/>
          </a:xfrm>
        </p:spPr>
        <p:txBody>
          <a:bodyPr>
            <a:noAutofit/>
          </a:bodyPr>
          <a:lstStyle>
            <a:lvl1pPr>
              <a:defRPr sz="2000">
                <a:solidFill>
                  <a:schemeClr val="bg1"/>
                </a:solidFill>
                <a:latin typeface="+mj-lt"/>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Subtitle</a:t>
            </a:r>
          </a:p>
        </p:txBody>
      </p:sp>
      <p:sp>
        <p:nvSpPr>
          <p:cNvPr id="14" name="Footer Placeholder 4">
            <a:extLst>
              <a:ext uri="{FF2B5EF4-FFF2-40B4-BE49-F238E27FC236}">
                <a16:creationId xmlns:a16="http://schemas.microsoft.com/office/drawing/2014/main" id="{4C49F10D-4964-4C13-BDFD-A701813832E9}"/>
              </a:ext>
            </a:extLst>
          </p:cNvPr>
          <p:cNvSpPr>
            <a:spLocks noGrp="1"/>
          </p:cNvSpPr>
          <p:nvPr>
            <p:ph type="ftr" sz="quarter" idx="3"/>
          </p:nvPr>
        </p:nvSpPr>
        <p:spPr>
          <a:xfrm>
            <a:off x="360000" y="6444000"/>
            <a:ext cx="4500000" cy="216000"/>
          </a:xfrm>
          <a:prstGeom prst="rect">
            <a:avLst/>
          </a:prstGeom>
        </p:spPr>
        <p:txBody>
          <a:bodyPr vert="horz" lIns="0" tIns="0" rIns="0" bIns="0" rtlCol="0" anchor="t"/>
          <a:lstStyle>
            <a:lvl1pPr algn="l">
              <a:defRPr sz="1400">
                <a:solidFill>
                  <a:schemeClr val="bg1"/>
                </a:solidFill>
                <a:latin typeface="Public Sans SemiBold" pitchFamily="2" charset="0"/>
              </a:defRPr>
            </a:lvl1pPr>
          </a:lstStyle>
          <a:p>
            <a:r>
              <a:rPr lang="en-US"/>
              <a:t>Descriptor</a:t>
            </a:r>
            <a:endParaRPr lang="en-AU"/>
          </a:p>
        </p:txBody>
      </p:sp>
      <p:sp>
        <p:nvSpPr>
          <p:cNvPr id="5" name="Text Placeholder 4">
            <a:extLst>
              <a:ext uri="{FF2B5EF4-FFF2-40B4-BE49-F238E27FC236}">
                <a16:creationId xmlns:a16="http://schemas.microsoft.com/office/drawing/2014/main" id="{38EDD08B-0E5C-4DF0-9C56-CC522D170EAA}"/>
              </a:ext>
            </a:extLst>
          </p:cNvPr>
          <p:cNvSpPr>
            <a:spLocks noGrp="1"/>
          </p:cNvSpPr>
          <p:nvPr>
            <p:ph type="body" sz="quarter" idx="11" hasCustomPrompt="1"/>
          </p:nvPr>
        </p:nvSpPr>
        <p:spPr>
          <a:xfrm>
            <a:off x="9178925" y="4071600"/>
            <a:ext cx="2778613" cy="2786400"/>
          </a:xfrm>
        </p:spPr>
        <p:txBody>
          <a:bodyPr anchor="b">
            <a:noAutofit/>
          </a:bodyPr>
          <a:lstStyle>
            <a:lvl1pPr algn="r">
              <a:lnSpc>
                <a:spcPct val="80000"/>
              </a:lnSpc>
              <a:spcAft>
                <a:spcPts val="0"/>
              </a:spcAft>
              <a:defRPr sz="19000">
                <a:solidFill>
                  <a:schemeClr val="bg1"/>
                </a:solidFill>
                <a:latin typeface="Public Sans ExtraLight"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pic>
        <p:nvPicPr>
          <p:cNvPr id="10" name="Picture 9" descr="NSW Government logo">
            <a:extLst>
              <a:ext uri="{FF2B5EF4-FFF2-40B4-BE49-F238E27FC236}">
                <a16:creationId xmlns:a16="http://schemas.microsoft.com/office/drawing/2014/main" id="{4614E832-4BCC-4853-BB8C-E93D74BE525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21200" y="360000"/>
            <a:ext cx="630000" cy="685525"/>
          </a:xfrm>
          <a:prstGeom prst="rect">
            <a:avLst/>
          </a:prstGeom>
        </p:spPr>
      </p:pic>
    </p:spTree>
    <p:extLst>
      <p:ext uri="{BB962C8B-B14F-4D97-AF65-F5344CB8AC3E}">
        <p14:creationId xmlns:p14="http://schemas.microsoft.com/office/powerpoint/2010/main" val="42828737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40000" y="4104000"/>
            <a:ext cx="10242886" cy="1009606"/>
          </a:xfrm>
          <a:ln>
            <a:noFill/>
          </a:ln>
        </p:spPr>
        <p:txBody>
          <a:bodyPr anchor="t">
            <a:normAutofit/>
          </a:bodyPr>
          <a:lstStyle>
            <a:lvl1pPr algn="l">
              <a:lnSpc>
                <a:spcPct val="90000"/>
              </a:lnSpc>
              <a:defRPr sz="4800">
                <a:solidFill>
                  <a:schemeClr val="bg2"/>
                </a:solidFill>
              </a:defRPr>
            </a:lvl1pPr>
          </a:lstStyle>
          <a:p>
            <a:r>
              <a:rPr lang="en-US"/>
              <a:t>Divider title</a:t>
            </a:r>
          </a:p>
        </p:txBody>
      </p:sp>
      <p:sp>
        <p:nvSpPr>
          <p:cNvPr id="11" name="Text Placeholder 10">
            <a:extLst>
              <a:ext uri="{FF2B5EF4-FFF2-40B4-BE49-F238E27FC236}">
                <a16:creationId xmlns:a16="http://schemas.microsoft.com/office/drawing/2014/main" id="{AA33BD13-5953-47AF-A601-951A768FEDA1}"/>
              </a:ext>
            </a:extLst>
          </p:cNvPr>
          <p:cNvSpPr>
            <a:spLocks noGrp="1"/>
          </p:cNvSpPr>
          <p:nvPr>
            <p:ph type="body" sz="quarter" idx="10" hasCustomPrompt="1"/>
          </p:nvPr>
        </p:nvSpPr>
        <p:spPr>
          <a:xfrm>
            <a:off x="540000" y="5652000"/>
            <a:ext cx="10242886" cy="523717"/>
          </a:xfrm>
        </p:spPr>
        <p:txBody>
          <a:bodyPr>
            <a:noAutofit/>
          </a:bodyPr>
          <a:lstStyle>
            <a:lvl1pPr>
              <a:defRPr sz="2000">
                <a:solidFill>
                  <a:schemeClr val="bg2"/>
                </a:solidFill>
                <a:latin typeface="+mj-lt"/>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Subtitle</a:t>
            </a:r>
          </a:p>
        </p:txBody>
      </p:sp>
      <p:sp>
        <p:nvSpPr>
          <p:cNvPr id="14" name="Footer Placeholder 4">
            <a:extLst>
              <a:ext uri="{FF2B5EF4-FFF2-40B4-BE49-F238E27FC236}">
                <a16:creationId xmlns:a16="http://schemas.microsoft.com/office/drawing/2014/main" id="{4C49F10D-4964-4C13-BDFD-A701813832E9}"/>
              </a:ext>
            </a:extLst>
          </p:cNvPr>
          <p:cNvSpPr>
            <a:spLocks noGrp="1"/>
          </p:cNvSpPr>
          <p:nvPr>
            <p:ph type="ftr" sz="quarter" idx="3"/>
          </p:nvPr>
        </p:nvSpPr>
        <p:spPr>
          <a:xfrm>
            <a:off x="360000" y="6444000"/>
            <a:ext cx="4500000" cy="216000"/>
          </a:xfrm>
          <a:prstGeom prst="rect">
            <a:avLst/>
          </a:prstGeom>
        </p:spPr>
        <p:txBody>
          <a:bodyPr vert="horz" lIns="0" tIns="0" rIns="0" bIns="0" rtlCol="0" anchor="t"/>
          <a:lstStyle>
            <a:lvl1pPr algn="l">
              <a:defRPr sz="1400">
                <a:solidFill>
                  <a:schemeClr val="bg2"/>
                </a:solidFill>
                <a:latin typeface="Public Sans SemiBold" pitchFamily="2" charset="0"/>
              </a:defRPr>
            </a:lvl1pPr>
          </a:lstStyle>
          <a:p>
            <a:r>
              <a:rPr lang="en-US"/>
              <a:t>Descriptor</a:t>
            </a:r>
            <a:endParaRPr lang="en-AU"/>
          </a:p>
        </p:txBody>
      </p:sp>
      <p:sp>
        <p:nvSpPr>
          <p:cNvPr id="5" name="Text Placeholder 4">
            <a:extLst>
              <a:ext uri="{FF2B5EF4-FFF2-40B4-BE49-F238E27FC236}">
                <a16:creationId xmlns:a16="http://schemas.microsoft.com/office/drawing/2014/main" id="{38EDD08B-0E5C-4DF0-9C56-CC522D170EAA}"/>
              </a:ext>
            </a:extLst>
          </p:cNvPr>
          <p:cNvSpPr>
            <a:spLocks noGrp="1"/>
          </p:cNvSpPr>
          <p:nvPr>
            <p:ph type="body" sz="quarter" idx="11" hasCustomPrompt="1"/>
          </p:nvPr>
        </p:nvSpPr>
        <p:spPr>
          <a:xfrm>
            <a:off x="540000" y="360000"/>
            <a:ext cx="2778613" cy="2786400"/>
          </a:xfrm>
        </p:spPr>
        <p:txBody>
          <a:bodyPr anchor="t">
            <a:noAutofit/>
          </a:bodyPr>
          <a:lstStyle>
            <a:lvl1pPr algn="l">
              <a:lnSpc>
                <a:spcPct val="80000"/>
              </a:lnSpc>
              <a:spcAft>
                <a:spcPts val="0"/>
              </a:spcAft>
              <a:defRPr sz="19000">
                <a:solidFill>
                  <a:schemeClr val="bg2"/>
                </a:solidFill>
                <a:latin typeface="Public Sans ExtraLight"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cxnSp>
        <p:nvCxnSpPr>
          <p:cNvPr id="15" name="Straight Connector 14">
            <a:extLst>
              <a:ext uri="{FF2B5EF4-FFF2-40B4-BE49-F238E27FC236}">
                <a16:creationId xmlns:a16="http://schemas.microsoft.com/office/drawing/2014/main" id="{140FCFB7-2251-4DE7-B878-A07B57992F00}"/>
              </a:ext>
            </a:extLst>
          </p:cNvPr>
          <p:cNvCxnSpPr>
            <a:cxnSpLocks/>
          </p:cNvCxnSpPr>
          <p:nvPr userDrawn="1"/>
        </p:nvCxnSpPr>
        <p:spPr>
          <a:xfrm>
            <a:off x="360000" y="360000"/>
            <a:ext cx="0" cy="597600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9" name="Picture 8" descr="NSW Government logo">
            <a:extLst>
              <a:ext uri="{FF2B5EF4-FFF2-40B4-BE49-F238E27FC236}">
                <a16:creationId xmlns:a16="http://schemas.microsoft.com/office/drawing/2014/main" id="{27C4C535-7E4B-4B48-BCD8-F680CCDFEE4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21200" y="360000"/>
            <a:ext cx="630000" cy="685525"/>
          </a:xfrm>
          <a:prstGeom prst="rect">
            <a:avLst/>
          </a:prstGeom>
        </p:spPr>
      </p:pic>
    </p:spTree>
    <p:extLst>
      <p:ext uri="{BB962C8B-B14F-4D97-AF65-F5344CB8AC3E}">
        <p14:creationId xmlns:p14="http://schemas.microsoft.com/office/powerpoint/2010/main" val="14438495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903A8E2-73B2-4BCE-A537-BD98BFA45482}"/>
              </a:ext>
            </a:extLst>
          </p:cNvPr>
          <p:cNvSpPr/>
          <p:nvPr userDrawn="1"/>
        </p:nvSpPr>
        <p:spPr>
          <a:xfrm>
            <a:off x="0" y="1602000"/>
            <a:ext cx="12192000" cy="5256000"/>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p:cNvSpPr>
            <a:spLocks noGrp="1"/>
          </p:cNvSpPr>
          <p:nvPr>
            <p:ph type="title"/>
          </p:nvPr>
        </p:nvSpPr>
        <p:spPr>
          <a:xfrm>
            <a:off x="360000" y="360000"/>
            <a:ext cx="9720000" cy="1009652"/>
          </a:xfrm>
        </p:spPr>
        <p:txBody>
          <a:bodyPr/>
          <a:lstStyle/>
          <a:p>
            <a:r>
              <a:rPr lang="en-US"/>
              <a:t>Click to edit Master title style</a:t>
            </a:r>
          </a:p>
        </p:txBody>
      </p:sp>
      <p:sp>
        <p:nvSpPr>
          <p:cNvPr id="5" name="Footer Placeholder 4"/>
          <p:cNvSpPr>
            <a:spLocks noGrp="1"/>
          </p:cNvSpPr>
          <p:nvPr>
            <p:ph type="ftr" sz="quarter" idx="11"/>
          </p:nvPr>
        </p:nvSpPr>
        <p:spPr>
          <a:xfrm>
            <a:off x="360000" y="6444000"/>
            <a:ext cx="6720000" cy="252000"/>
          </a:xfrm>
        </p:spPr>
        <p:txBody>
          <a:bodyPr/>
          <a:lstStyle/>
          <a:p>
            <a:r>
              <a:rPr lang="en-US"/>
              <a:t>Descriptor</a:t>
            </a:r>
            <a:endParaRPr lang="en-AU"/>
          </a:p>
        </p:txBody>
      </p:sp>
      <p:sp>
        <p:nvSpPr>
          <p:cNvPr id="6" name="Slide Number Placeholder 5"/>
          <p:cNvSpPr>
            <a:spLocks noGrp="1"/>
          </p:cNvSpPr>
          <p:nvPr>
            <p:ph type="sldNum" sz="quarter" idx="12"/>
          </p:nvPr>
        </p:nvSpPr>
        <p:spPr>
          <a:xfrm>
            <a:off x="11317458" y="6516000"/>
            <a:ext cx="490542" cy="180000"/>
          </a:xfrm>
        </p:spPr>
        <p:txBody>
          <a:bodyPr/>
          <a:lstStyle/>
          <a:p>
            <a:fld id="{10A01DC5-1685-4615-8240-15192985C6A2}" type="slidenum">
              <a:rPr lang="en-AU" smtClean="0"/>
              <a:t>‹#›</a:t>
            </a:fld>
            <a:endParaRPr lang="en-AU"/>
          </a:p>
        </p:txBody>
      </p:sp>
      <p:sp>
        <p:nvSpPr>
          <p:cNvPr id="10" name="Table Placeholder 9">
            <a:extLst>
              <a:ext uri="{FF2B5EF4-FFF2-40B4-BE49-F238E27FC236}">
                <a16:creationId xmlns:a16="http://schemas.microsoft.com/office/drawing/2014/main" id="{F8D9268B-FAD5-4A3C-B190-A50230A1D12D}"/>
              </a:ext>
            </a:extLst>
          </p:cNvPr>
          <p:cNvSpPr>
            <a:spLocks noGrp="1"/>
          </p:cNvSpPr>
          <p:nvPr>
            <p:ph type="tbl" sz="quarter" idx="13"/>
          </p:nvPr>
        </p:nvSpPr>
        <p:spPr>
          <a:xfrm>
            <a:off x="360363" y="1800001"/>
            <a:ext cx="11447462" cy="4409998"/>
          </a:xfrm>
        </p:spPr>
        <p:txBody>
          <a:bodyPr/>
          <a:lstStyle/>
          <a:p>
            <a:r>
              <a:rPr lang="en-US"/>
              <a:t>Click icon to add table</a:t>
            </a:r>
            <a:endParaRPr lang="en-AU"/>
          </a:p>
        </p:txBody>
      </p:sp>
    </p:spTree>
    <p:extLst>
      <p:ext uri="{BB962C8B-B14F-4D97-AF65-F5344CB8AC3E}">
        <p14:creationId xmlns:p14="http://schemas.microsoft.com/office/powerpoint/2010/main" val="35651723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 2">
    <p:spTree>
      <p:nvGrpSpPr>
        <p:cNvPr id="1" name=""/>
        <p:cNvGrpSpPr/>
        <p:nvPr/>
      </p:nvGrpSpPr>
      <p:grpSpPr>
        <a:xfrm>
          <a:off x="0" y="0"/>
          <a:ext cx="0" cy="0"/>
          <a:chOff x="0" y="0"/>
          <a:chExt cx="0" cy="0"/>
        </a:xfrm>
      </p:grpSpPr>
      <p:sp>
        <p:nvSpPr>
          <p:cNvPr id="2" name="Title 1"/>
          <p:cNvSpPr>
            <a:spLocks noGrp="1"/>
          </p:cNvSpPr>
          <p:nvPr>
            <p:ph type="title"/>
          </p:nvPr>
        </p:nvSpPr>
        <p:spPr>
          <a:xfrm>
            <a:off x="360000" y="360000"/>
            <a:ext cx="9720000" cy="1009652"/>
          </a:xfrm>
        </p:spPr>
        <p:txBody>
          <a:bodyPr/>
          <a:lstStyle/>
          <a:p>
            <a:r>
              <a:rPr lang="en-US"/>
              <a:t>Click to edit Master title style</a:t>
            </a:r>
          </a:p>
        </p:txBody>
      </p:sp>
      <p:sp>
        <p:nvSpPr>
          <p:cNvPr id="5" name="Footer Placeholder 4"/>
          <p:cNvSpPr>
            <a:spLocks noGrp="1"/>
          </p:cNvSpPr>
          <p:nvPr>
            <p:ph type="ftr" sz="quarter" idx="11"/>
          </p:nvPr>
        </p:nvSpPr>
        <p:spPr/>
        <p:txBody>
          <a:bodyPr/>
          <a:lstStyle/>
          <a:p>
            <a:r>
              <a:rPr lang="en-US"/>
              <a:t>Descriptor</a:t>
            </a:r>
            <a:endParaRPr lang="en-AU"/>
          </a:p>
        </p:txBody>
      </p:sp>
      <p:sp>
        <p:nvSpPr>
          <p:cNvPr id="6" name="Slide Number Placeholder 5"/>
          <p:cNvSpPr>
            <a:spLocks noGrp="1"/>
          </p:cNvSpPr>
          <p:nvPr>
            <p:ph type="sldNum" sz="quarter" idx="12"/>
          </p:nvPr>
        </p:nvSpPr>
        <p:spPr/>
        <p:txBody>
          <a:bodyPr/>
          <a:lstStyle/>
          <a:p>
            <a:fld id="{10A01DC5-1685-4615-8240-15192985C6A2}" type="slidenum">
              <a:rPr lang="en-AU" smtClean="0"/>
              <a:t>‹#›</a:t>
            </a:fld>
            <a:endParaRPr lang="en-AU"/>
          </a:p>
        </p:txBody>
      </p:sp>
      <p:sp>
        <p:nvSpPr>
          <p:cNvPr id="10" name="Table Placeholder 9">
            <a:extLst>
              <a:ext uri="{FF2B5EF4-FFF2-40B4-BE49-F238E27FC236}">
                <a16:creationId xmlns:a16="http://schemas.microsoft.com/office/drawing/2014/main" id="{F8D9268B-FAD5-4A3C-B190-A50230A1D12D}"/>
              </a:ext>
            </a:extLst>
          </p:cNvPr>
          <p:cNvSpPr>
            <a:spLocks noGrp="1"/>
          </p:cNvSpPr>
          <p:nvPr>
            <p:ph type="tbl" sz="quarter" idx="13"/>
          </p:nvPr>
        </p:nvSpPr>
        <p:spPr>
          <a:xfrm>
            <a:off x="360363" y="1620000"/>
            <a:ext cx="11447462" cy="4500000"/>
          </a:xfrm>
        </p:spPr>
        <p:txBody>
          <a:bodyPr/>
          <a:lstStyle/>
          <a:p>
            <a:r>
              <a:rPr lang="en-US"/>
              <a:t>Click icon to add table</a:t>
            </a:r>
            <a:endParaRPr lang="en-AU"/>
          </a:p>
        </p:txBody>
      </p:sp>
    </p:spTree>
    <p:extLst>
      <p:ext uri="{BB962C8B-B14F-4D97-AF65-F5344CB8AC3E}">
        <p14:creationId xmlns:p14="http://schemas.microsoft.com/office/powerpoint/2010/main" val="250572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0000" y="360000"/>
            <a:ext cx="9720000" cy="1009652"/>
          </a:xfr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t>Descriptor</a:t>
            </a:r>
            <a:endParaRPr lang="en-AU"/>
          </a:p>
        </p:txBody>
      </p:sp>
      <p:sp>
        <p:nvSpPr>
          <p:cNvPr id="6" name="Slide Number Placeholder 5"/>
          <p:cNvSpPr>
            <a:spLocks noGrp="1"/>
          </p:cNvSpPr>
          <p:nvPr>
            <p:ph type="sldNum" sz="quarter" idx="12"/>
          </p:nvPr>
        </p:nvSpPr>
        <p:spPr/>
        <p:txBody>
          <a:bodyPr/>
          <a:lstStyle/>
          <a:p>
            <a:fld id="{10A01DC5-1685-4615-8240-15192985C6A2}" type="slidenum">
              <a:rPr lang="en-AU" smtClean="0"/>
              <a:t>‹#›</a:t>
            </a:fld>
            <a:endParaRPr lang="en-AU"/>
          </a:p>
        </p:txBody>
      </p:sp>
      <p:cxnSp>
        <p:nvCxnSpPr>
          <p:cNvPr id="7" name="Straight Connector 6">
            <a:extLst>
              <a:ext uri="{FF2B5EF4-FFF2-40B4-BE49-F238E27FC236}">
                <a16:creationId xmlns:a16="http://schemas.microsoft.com/office/drawing/2014/main" id="{FDEA8E5D-F9A7-48AC-AF91-6754515E9D1B}"/>
              </a:ext>
            </a:extLst>
          </p:cNvPr>
          <p:cNvCxnSpPr/>
          <p:nvPr userDrawn="1"/>
        </p:nvCxnSpPr>
        <p:spPr>
          <a:xfrm>
            <a:off x="360000" y="1548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73D7C65C-44E2-4933-BFBB-90BBEEAAAC45}"/>
              </a:ext>
            </a:extLst>
          </p:cNvPr>
          <p:cNvCxnSpPr/>
          <p:nvPr userDrawn="1"/>
        </p:nvCxnSpPr>
        <p:spPr>
          <a:xfrm>
            <a:off x="360000" y="630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40763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0000" y="360000"/>
            <a:ext cx="9720000" cy="1009652"/>
          </a:xfrm>
          <a:prstGeom prst="rect">
            <a:avLst/>
          </a:prstGeom>
        </p:spPr>
        <p:txBody>
          <a:bodyPr vert="horz" lIns="0" tIns="0" rIns="0" bIns="0" rtlCol="0" anchor="t">
            <a:normAutofit/>
          </a:bodyPr>
          <a:lstStyle/>
          <a:p>
            <a:r>
              <a:rPr lang="en-US"/>
              <a:t>Click to edit Master title style</a:t>
            </a:r>
          </a:p>
        </p:txBody>
      </p:sp>
      <p:sp>
        <p:nvSpPr>
          <p:cNvPr id="3" name="Text Placeholder 2"/>
          <p:cNvSpPr>
            <a:spLocks noGrp="1"/>
          </p:cNvSpPr>
          <p:nvPr>
            <p:ph type="body" idx="1"/>
          </p:nvPr>
        </p:nvSpPr>
        <p:spPr>
          <a:xfrm>
            <a:off x="360000" y="1800000"/>
            <a:ext cx="11448000" cy="435133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360000" y="6444000"/>
            <a:ext cx="6720000" cy="252000"/>
          </a:xfrm>
          <a:prstGeom prst="rect">
            <a:avLst/>
          </a:prstGeom>
        </p:spPr>
        <p:txBody>
          <a:bodyPr vert="horz" lIns="0" tIns="0" rIns="0" bIns="0" rtlCol="0" anchor="t"/>
          <a:lstStyle>
            <a:lvl1pPr algn="l">
              <a:defRPr sz="1400">
                <a:solidFill>
                  <a:schemeClr val="bg2"/>
                </a:solidFill>
                <a:latin typeface="Public Sans SemiBold" pitchFamily="2" charset="0"/>
              </a:defRPr>
            </a:lvl1pPr>
          </a:lstStyle>
          <a:p>
            <a:r>
              <a:rPr lang="en-US"/>
              <a:t>Descriptor</a:t>
            </a:r>
            <a:endParaRPr lang="en-AU"/>
          </a:p>
        </p:txBody>
      </p:sp>
      <p:sp>
        <p:nvSpPr>
          <p:cNvPr id="6" name="Slide Number Placeholder 5"/>
          <p:cNvSpPr>
            <a:spLocks noGrp="1"/>
          </p:cNvSpPr>
          <p:nvPr>
            <p:ph type="sldNum" sz="quarter" idx="4"/>
          </p:nvPr>
        </p:nvSpPr>
        <p:spPr>
          <a:xfrm>
            <a:off x="11317458" y="6516000"/>
            <a:ext cx="490542" cy="180000"/>
          </a:xfrm>
          <a:prstGeom prst="rect">
            <a:avLst/>
          </a:prstGeom>
        </p:spPr>
        <p:txBody>
          <a:bodyPr vert="horz" lIns="0" tIns="0" rIns="0" bIns="0" rtlCol="0" anchor="t"/>
          <a:lstStyle>
            <a:lvl1pPr algn="r">
              <a:defRPr sz="1200">
                <a:solidFill>
                  <a:schemeClr val="tx1"/>
                </a:solidFill>
                <a:latin typeface="+mn-lt"/>
              </a:defRPr>
            </a:lvl1pPr>
          </a:lstStyle>
          <a:p>
            <a:fld id="{10A01DC5-1685-4615-8240-15192985C6A2}" type="slidenum">
              <a:rPr lang="en-AU" smtClean="0"/>
              <a:pPr/>
              <a:t>‹#›</a:t>
            </a:fld>
            <a:endParaRPr lang="en-AU"/>
          </a:p>
        </p:txBody>
      </p:sp>
      <p:pic>
        <p:nvPicPr>
          <p:cNvPr id="8" name="Picture 7" descr="NSW Government logo">
            <a:extLst>
              <a:ext uri="{FF2B5EF4-FFF2-40B4-BE49-F238E27FC236}">
                <a16:creationId xmlns:a16="http://schemas.microsoft.com/office/drawing/2014/main" id="{CCBF5FED-71CD-4122-8BE4-CA4C03A99224}"/>
              </a:ext>
            </a:extLst>
          </p:cNvPr>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a:off x="11221200" y="360000"/>
            <a:ext cx="630000" cy="685525"/>
          </a:xfrm>
          <a:prstGeom prst="rect">
            <a:avLst/>
          </a:prstGeom>
        </p:spPr>
      </p:pic>
    </p:spTree>
    <p:extLst>
      <p:ext uri="{BB962C8B-B14F-4D97-AF65-F5344CB8AC3E}">
        <p14:creationId xmlns:p14="http://schemas.microsoft.com/office/powerpoint/2010/main" val="4123316428"/>
      </p:ext>
    </p:extLst>
  </p:cSld>
  <p:clrMap bg1="lt1" tx1="dk1" bg2="lt2" tx2="dk2" accent1="accent1" accent2="accent2" accent3="accent3" accent4="accent4" accent5="accent5" accent6="accent6" hlink="hlink" folHlink="folHlink"/>
  <p:sldLayoutIdLst>
    <p:sldLayoutId id="2147483661" r:id="rId1"/>
    <p:sldLayoutId id="2147483669" r:id="rId2"/>
    <p:sldLayoutId id="2147483668" r:id="rId3"/>
    <p:sldLayoutId id="2147483671" r:id="rId4"/>
    <p:sldLayoutId id="2147483673" r:id="rId5"/>
    <p:sldLayoutId id="2147483674" r:id="rId6"/>
    <p:sldLayoutId id="2147483675" r:id="rId7"/>
    <p:sldLayoutId id="2147483676" r:id="rId8"/>
    <p:sldLayoutId id="2147483662" r:id="rId9"/>
    <p:sldLayoutId id="2147483672" r:id="rId10"/>
    <p:sldLayoutId id="2147483677" r:id="rId11"/>
    <p:sldLayoutId id="2147483678" r:id="rId12"/>
    <p:sldLayoutId id="2147483664" r:id="rId13"/>
    <p:sldLayoutId id="2147483684" r:id="rId14"/>
    <p:sldLayoutId id="2147483679" r:id="rId15"/>
    <p:sldLayoutId id="2147483687" r:id="rId16"/>
    <p:sldLayoutId id="2147483680" r:id="rId17"/>
    <p:sldLayoutId id="2147483681" r:id="rId18"/>
    <p:sldLayoutId id="2147483682" r:id="rId19"/>
    <p:sldLayoutId id="2147483683" r:id="rId20"/>
    <p:sldLayoutId id="2147483685" r:id="rId21"/>
    <p:sldLayoutId id="2147483686" r:id="rId22"/>
    <p:sldLayoutId id="2147483665" r:id="rId23"/>
    <p:sldLayoutId id="2147483666" r:id="rId24"/>
    <p:sldLayoutId id="2147483667" r:id="rId25"/>
  </p:sldLayoutIdLst>
  <p:hf hdr="0" dt="0"/>
  <p:txStyles>
    <p:titleStyle>
      <a:lvl1pPr algn="l" defTabSz="914377" rtl="0" eaLnBrk="1" latinLnBrk="0" hangingPunct="1">
        <a:lnSpc>
          <a:spcPct val="90000"/>
        </a:lnSpc>
        <a:spcBef>
          <a:spcPct val="0"/>
        </a:spcBef>
        <a:buNone/>
        <a:defRPr sz="3600" kern="1200">
          <a:solidFill>
            <a:schemeClr val="tx1"/>
          </a:solidFill>
          <a:latin typeface="+mn-lt"/>
          <a:ea typeface="+mj-ea"/>
          <a:cs typeface="+mj-cs"/>
        </a:defRPr>
      </a:lvl1pPr>
    </p:titleStyle>
    <p:bodyStyle>
      <a:lvl1pPr marL="0" indent="0" algn="l" defTabSz="914377" rtl="0" eaLnBrk="1" latinLnBrk="0" hangingPunct="1">
        <a:lnSpc>
          <a:spcPct val="90000"/>
        </a:lnSpc>
        <a:spcBef>
          <a:spcPts val="0"/>
        </a:spcBef>
        <a:spcAft>
          <a:spcPts val="1200"/>
        </a:spcAft>
        <a:buFont typeface="Arial" panose="020B0604020202020204" pitchFamily="34" charset="0"/>
        <a:buNone/>
        <a:defRPr sz="2000" b="0" kern="1200">
          <a:solidFill>
            <a:schemeClr val="tx1"/>
          </a:solidFill>
          <a:latin typeface="+mj-lt"/>
          <a:ea typeface="+mn-ea"/>
          <a:cs typeface="+mn-cs"/>
        </a:defRPr>
      </a:lvl1pPr>
      <a:lvl2pPr marL="0" indent="0" algn="l" defTabSz="914377" rtl="0" eaLnBrk="1" latinLnBrk="0" hangingPunct="1">
        <a:lnSpc>
          <a:spcPct val="100000"/>
        </a:lnSpc>
        <a:spcBef>
          <a:spcPts val="0"/>
        </a:spcBef>
        <a:spcAft>
          <a:spcPts val="600"/>
        </a:spcAft>
        <a:buFont typeface="Arial" panose="020B0604020202020204" pitchFamily="34" charset="0"/>
        <a:buNone/>
        <a:defRPr sz="1400" b="0" kern="1200">
          <a:solidFill>
            <a:schemeClr val="tx1"/>
          </a:solidFill>
          <a:latin typeface="Public Sans SemiBold" pitchFamily="2" charset="0"/>
          <a:ea typeface="+mn-ea"/>
          <a:cs typeface="+mn-cs"/>
        </a:defRPr>
      </a:lvl2pPr>
      <a:lvl3pPr marL="0" indent="0" algn="l" defTabSz="914377" rtl="0" eaLnBrk="1" latinLnBrk="0" hangingPunct="1">
        <a:lnSpc>
          <a:spcPct val="1000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3pPr>
      <a:lvl4pPr marL="0" indent="-180000" algn="l" defTabSz="914377"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4pPr>
      <a:lvl5pPr marL="360000" indent="-180000" algn="l" defTabSz="914377" rtl="0" eaLnBrk="1" latinLnBrk="0" hangingPunct="1">
        <a:lnSpc>
          <a:spcPct val="100000"/>
        </a:lnSpc>
        <a:spcBef>
          <a:spcPts val="0"/>
        </a:spcBef>
        <a:spcAft>
          <a:spcPts val="600"/>
        </a:spcAft>
        <a:buFont typeface="Times New Roman" panose="02020603050405020304" pitchFamily="18" charset="0"/>
        <a:buChar char="–"/>
        <a:defRPr sz="1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92D5D7ED-8994-46DD-BD45-55F4757BFE72}"/>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2E48C10-414B-4AC4-8219-36F310C714A6}"/>
              </a:ext>
            </a:extLst>
          </p:cNvPr>
          <p:cNvSpPr>
            <a:spLocks noGrp="1"/>
          </p:cNvSpPr>
          <p:nvPr>
            <p:ph type="sldNum" sz="quarter" idx="4"/>
          </p:nvPr>
        </p:nvSpPr>
        <p:spPr>
          <a:xfrm>
            <a:off x="11432344" y="6498723"/>
            <a:ext cx="157094" cy="153888"/>
          </a:xfrm>
          <a:prstGeom prst="rect">
            <a:avLst/>
          </a:prstGeom>
        </p:spPr>
        <p:txBody>
          <a:bodyPr vert="horz" wrap="none" lIns="0" tIns="0" rIns="0" bIns="0" rtlCol="0" anchor="b">
            <a:spAutoFit/>
          </a:bodyPr>
          <a:lstStyle>
            <a:lvl1pPr algn="r">
              <a:defRPr sz="10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4277038141"/>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 id="2147483707" r:id="rId16"/>
    <p:sldLayoutId id="2147483708" r:id="rId17"/>
    <p:sldLayoutId id="2147483709" r:id="rId18"/>
    <p:sldLayoutId id="2147483710" r:id="rId19"/>
    <p:sldLayoutId id="2147483711" r:id="rId20"/>
    <p:sldLayoutId id="2147483712"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600" b="1" kern="1200">
          <a:solidFill>
            <a:schemeClr val="accent2"/>
          </a:solidFill>
          <a:latin typeface="+mj-lt"/>
          <a:ea typeface="+mj-ea"/>
          <a:cs typeface="+mj-cs"/>
        </a:defRPr>
      </a:lvl1pPr>
    </p:titleStyle>
    <p:bodyStyle>
      <a:lvl1pPr marL="0" indent="0" algn="l" defTabSz="914400" rtl="0" eaLnBrk="1" latinLnBrk="0" hangingPunct="1">
        <a:lnSpc>
          <a:spcPct val="90000"/>
        </a:lnSpc>
        <a:spcBef>
          <a:spcPts val="0"/>
        </a:spcBef>
        <a:spcAft>
          <a:spcPts val="800"/>
        </a:spcAft>
        <a:buFont typeface="Arial" panose="020B0604020202020204" pitchFamily="34" charset="0"/>
        <a:buNone/>
        <a:defRPr sz="1400" b="1" kern="1200">
          <a:solidFill>
            <a:schemeClr val="accent1"/>
          </a:solidFill>
          <a:latin typeface="+mn-lt"/>
          <a:ea typeface="+mn-ea"/>
          <a:cs typeface="+mn-cs"/>
        </a:defRPr>
      </a:lvl1pPr>
      <a:lvl2pPr marL="0" indent="0" algn="l" defTabSz="914400" rtl="0" eaLnBrk="1" latinLnBrk="0" hangingPunct="1">
        <a:lnSpc>
          <a:spcPct val="90000"/>
        </a:lnSpc>
        <a:spcBef>
          <a:spcPts val="0"/>
        </a:spcBef>
        <a:spcAft>
          <a:spcPts val="800"/>
        </a:spcAft>
        <a:buFont typeface="Arial" panose="020B0604020202020204" pitchFamily="34" charset="0"/>
        <a:buNone/>
        <a:defRPr sz="1600" b="0" kern="1200">
          <a:solidFill>
            <a:schemeClr val="tx2"/>
          </a:solidFill>
          <a:latin typeface="+mn-lt"/>
          <a:ea typeface="+mn-ea"/>
          <a:cs typeface="+mn-cs"/>
        </a:defRPr>
      </a:lvl2pPr>
      <a:lvl3pPr marL="144000" indent="-144000" algn="l" defTabSz="914400" rtl="0" eaLnBrk="1" latinLnBrk="0" hangingPunct="1">
        <a:lnSpc>
          <a:spcPct val="90000"/>
        </a:lnSpc>
        <a:spcBef>
          <a:spcPts val="0"/>
        </a:spcBef>
        <a:spcAft>
          <a:spcPts val="800"/>
        </a:spcAft>
        <a:buClr>
          <a:schemeClr val="accent1"/>
        </a:buClr>
        <a:buFont typeface="Arial" panose="020B0604020202020204" pitchFamily="34" charset="0"/>
        <a:buChar char="•"/>
        <a:defRPr sz="1600" kern="1200">
          <a:solidFill>
            <a:schemeClr val="tx2"/>
          </a:solidFill>
          <a:latin typeface="+mn-lt"/>
          <a:ea typeface="+mn-ea"/>
          <a:cs typeface="+mn-cs"/>
        </a:defRPr>
      </a:lvl3pPr>
      <a:lvl4pPr marL="288000" indent="-1440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400" kern="1200">
          <a:solidFill>
            <a:schemeClr val="tx2"/>
          </a:solidFill>
          <a:latin typeface="+mn-lt"/>
          <a:ea typeface="+mn-ea"/>
          <a:cs typeface="+mn-cs"/>
        </a:defRPr>
      </a:lvl4pPr>
      <a:lvl5pPr marL="396000" indent="-108000" algn="l" defTabSz="914400" rtl="0" eaLnBrk="1" latinLnBrk="0" hangingPunct="1">
        <a:lnSpc>
          <a:spcPct val="90000"/>
        </a:lnSpc>
        <a:spcBef>
          <a:spcPts val="0"/>
        </a:spcBef>
        <a:spcAft>
          <a:spcPts val="4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70">
          <p15:clr>
            <a:srgbClr val="F26B43"/>
          </p15:clr>
        </p15:guide>
        <p15:guide id="2" orient="horz" pos="346">
          <p15:clr>
            <a:srgbClr val="F26B43"/>
          </p15:clr>
        </p15:guide>
        <p15:guide id="3" pos="7310">
          <p15:clr>
            <a:srgbClr val="F26B43"/>
          </p15:clr>
        </p15:guide>
        <p15:guide id="5" orient="horz" pos="4178">
          <p15:clr>
            <a:srgbClr val="F26B43"/>
          </p15:clr>
        </p15:guide>
        <p15:guide id="6" orient="horz" pos="3657">
          <p15:clr>
            <a:srgbClr val="F26B43"/>
          </p15:clr>
        </p15:guide>
        <p15:guide id="7" orient="horz" pos="686">
          <p15:clr>
            <a:srgbClr val="F26B43"/>
          </p15:clr>
        </p15:guide>
        <p15:guide id="8" orient="horz" pos="1026">
          <p15:clr>
            <a:srgbClr val="F26B43"/>
          </p15:clr>
        </p15:guide>
        <p15:guide id="9" orient="horz" pos="2636">
          <p15:clr>
            <a:srgbClr val="F26B43"/>
          </p15:clr>
        </p15:guide>
        <p15:guide id="10" orient="horz" pos="2840">
          <p15:clr>
            <a:srgbClr val="F26B43"/>
          </p15:clr>
        </p15:guide>
        <p15:guide id="11" pos="3840">
          <p15:clr>
            <a:srgbClr val="F26B43"/>
          </p15:clr>
        </p15:guide>
        <p15:guide id="12" pos="47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hyperlink" Target="https://www.health.nsw.gov.au/Infectious/factsheets/Factsheets/japanese-encephalitis-kurdish.pdf" TargetMode="External"/><Relationship Id="rId13" Type="http://schemas.openxmlformats.org/officeDocument/2006/relationships/image" Target="../media/image22.png"/><Relationship Id="rId3" Type="http://schemas.openxmlformats.org/officeDocument/2006/relationships/hyperlink" Target="https://www.health.nsw.gov.au/Infectious/factsheets/Factsheets/japanese-encephalitis-chinese-simplified.pdf" TargetMode="External"/><Relationship Id="rId7" Type="http://schemas.openxmlformats.org/officeDocument/2006/relationships/hyperlink" Target="https://www.health.nsw.gov.au/Infectious/factsheets/Factsheets/japanese-encephalitis-italian.pdf" TargetMode="External"/><Relationship Id="rId12" Type="http://schemas.openxmlformats.org/officeDocument/2006/relationships/hyperlink" Target="https://www.health.nsw.gov.au/Infectious/factsheets/Factsheets/japanese-encephalitis-vietnamese.pdf" TargetMode="External"/><Relationship Id="rId2" Type="http://schemas.openxmlformats.org/officeDocument/2006/relationships/hyperlink" Target="https://www.health.nsw.gov.au/Infectious/factsheets/Factsheets/japanese-encephalitis-arabic.pdf" TargetMode="External"/><Relationship Id="rId1" Type="http://schemas.openxmlformats.org/officeDocument/2006/relationships/slideLayout" Target="../slideLayouts/slideLayout24.xml"/><Relationship Id="rId6" Type="http://schemas.openxmlformats.org/officeDocument/2006/relationships/hyperlink" Target="https://www.health.nsw.gov.au/Infectious/factsheets/Factsheets/japanese-encephalitis-hindi.pdf" TargetMode="External"/><Relationship Id="rId11" Type="http://schemas.openxmlformats.org/officeDocument/2006/relationships/hyperlink" Target="https://www.health.nsw.gov.au/Infectious/factsheets/Factsheets/japanese-encephalitis-punjabi.pdf" TargetMode="External"/><Relationship Id="rId5" Type="http://schemas.openxmlformats.org/officeDocument/2006/relationships/hyperlink" Target="https://www.health.nsw.gov.au/Infectious/factsheets/Factsheets/japanese-encephalitis-filipino.pdf" TargetMode="External"/><Relationship Id="rId10" Type="http://schemas.openxmlformats.org/officeDocument/2006/relationships/hyperlink" Target="https://www.health.nsw.gov.au/Infectious/factsheets/Factsheets/japanese-encephalitis-nepali.pdf" TargetMode="External"/><Relationship Id="rId4" Type="http://schemas.openxmlformats.org/officeDocument/2006/relationships/hyperlink" Target="https://www.dropbox.com/s/qfn4ddyqaqgdocx/JEV%20fact%20sheet.pdf?dl=0" TargetMode="External"/><Relationship Id="rId9" Type="http://schemas.openxmlformats.org/officeDocument/2006/relationships/hyperlink" Target="https://www.health.nsw.gov.au/Infectious/factsheets/Factsheets/japanese-encephalitis-malayalam.pdf" TargetMode="External"/></Relationships>
</file>

<file path=ppt/slides/_rels/slide11.xml.rels><?xml version="1.0" encoding="UTF-8" standalone="yes"?>
<Relationships xmlns="http://schemas.openxmlformats.org/package/2006/relationships"><Relationship Id="rId8" Type="http://schemas.openxmlformats.org/officeDocument/2006/relationships/hyperlink" Target="https://www.health.nsw.gov.au/Infectious/jev/PublishingImages/translations/jev-vaccine-kurdish-kurumanji.jpg" TargetMode="External"/><Relationship Id="rId13" Type="http://schemas.openxmlformats.org/officeDocument/2006/relationships/image" Target="../media/image23.jpeg"/><Relationship Id="rId3" Type="http://schemas.openxmlformats.org/officeDocument/2006/relationships/hyperlink" Target="https://www.health.nsw.gov.au/Infectious/jev/PublishingImages/translations/jev-vaccine-chinese-simplified.jpg" TargetMode="External"/><Relationship Id="rId7" Type="http://schemas.openxmlformats.org/officeDocument/2006/relationships/hyperlink" Target="https://www.health.nsw.gov.au/Infectious/jev/PublishingImages/translations/jev-vaccine-italian.jpg" TargetMode="External"/><Relationship Id="rId12" Type="http://schemas.openxmlformats.org/officeDocument/2006/relationships/hyperlink" Target="https://www.health.nsw.gov.au/Infectious/jev/PublishingImages/translations/jev-vaccine-vietnamese.jpg" TargetMode="External"/><Relationship Id="rId2" Type="http://schemas.openxmlformats.org/officeDocument/2006/relationships/hyperlink" Target="https://www.health.nsw.gov.au/Infectious/jev/PublishingImages/translations/jev-vaccine-arabic.jpg" TargetMode="External"/><Relationship Id="rId1" Type="http://schemas.openxmlformats.org/officeDocument/2006/relationships/slideLayout" Target="../slideLayouts/slideLayout24.xml"/><Relationship Id="rId6" Type="http://schemas.openxmlformats.org/officeDocument/2006/relationships/hyperlink" Target="https://www.health.nsw.gov.au/Infectious/jev/PublishingImages/translations/jev-vaccine-hindi.jpg" TargetMode="External"/><Relationship Id="rId11" Type="http://schemas.openxmlformats.org/officeDocument/2006/relationships/hyperlink" Target="https://www.health.nsw.gov.au/Infectious/jev/PublishingImages/translations/jev-vaccine-punjabi.jpg" TargetMode="External"/><Relationship Id="rId5" Type="http://schemas.openxmlformats.org/officeDocument/2006/relationships/hyperlink" Target="https://www.health.nsw.gov.au/Infectious/jev/PublishingImages/translations/jev-vaccine-filipino.jpg" TargetMode="External"/><Relationship Id="rId10" Type="http://schemas.openxmlformats.org/officeDocument/2006/relationships/hyperlink" Target="https://www.health.nsw.gov.au/Infectious/jev/PublishingImages/translations/jev-vaccine-nepali.jpg" TargetMode="External"/><Relationship Id="rId4" Type="http://schemas.openxmlformats.org/officeDocument/2006/relationships/hyperlink" Target="https://www.health.nsw.gov.au/Infectious/jev/PublishingImages/jev-vaccine.png" TargetMode="External"/><Relationship Id="rId9" Type="http://schemas.openxmlformats.org/officeDocument/2006/relationships/hyperlink" Target="https://www.health.nsw.gov.au/Infectious/jev/PublishingImages/translations/jev-vaccine-malayalam.jpg" TargetMode="External"/></Relationships>
</file>

<file path=ppt/slides/_rels/slide12.xml.rels><?xml version="1.0" encoding="UTF-8" standalone="yes"?>
<Relationships xmlns="http://schemas.openxmlformats.org/package/2006/relationships"><Relationship Id="rId2" Type="http://schemas.openxmlformats.org/officeDocument/2006/relationships/hyperlink" Target="https://www.health.nsw.gov.au/infectious/jev/pages/vaccination.aspx#eligible" TargetMode="Externa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hyperlink" Target="https://www.dropbox.com/sh/7dk6qdfde7kkvtl/AADYk5qOq8aX3HT9hJFjreE9a?dl=0" TargetMode="External"/><Relationship Id="rId7"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24.xml"/><Relationship Id="rId6" Type="http://schemas.openxmlformats.org/officeDocument/2006/relationships/image" Target="../media/image24.png"/><Relationship Id="rId5" Type="http://schemas.openxmlformats.org/officeDocument/2006/relationships/hyperlink" Target="https://www.health.nsw.gov.au/environment/pests/vector/Pages/japanese-encephalitis.aspx" TargetMode="External"/><Relationship Id="rId4" Type="http://schemas.openxmlformats.org/officeDocument/2006/relationships/hyperlink" Target="https://www.dropbox.com/s/d7nq03jy4ijxsy1/JEV%20community%20social%20tile.png?dl=0" TargetMode="Externa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3" Type="http://schemas.openxmlformats.org/officeDocument/2006/relationships/hyperlink" Target="https://www.safework.nsw.gov.au/safety-alerts/safety-alerts/japanese-encephalitis" TargetMode="External"/><Relationship Id="rId2" Type="http://schemas.openxmlformats.org/officeDocument/2006/relationships/notesSlide" Target="../notesSlides/notesSlide1.xml"/><Relationship Id="rId1" Type="http://schemas.openxmlformats.org/officeDocument/2006/relationships/slideLayout" Target="../slideLayouts/slideLayout24.xml"/><Relationship Id="rId4" Type="http://schemas.openxmlformats.org/officeDocument/2006/relationships/hyperlink" Target="https://www.health.nsw.gov.au/environment/pests/vector/Pages/japanese-encephalitis.aspx" TargetMode="External"/></Relationships>
</file>

<file path=ppt/slides/_rels/slide3.xml.rels><?xml version="1.0" encoding="UTF-8" standalone="yes"?>
<Relationships xmlns="http://schemas.openxmlformats.org/package/2006/relationships"><Relationship Id="rId3" Type="http://schemas.openxmlformats.org/officeDocument/2006/relationships/hyperlink" Target="https://www.health.nsw.gov.au/environment/pests/vector/Pages/japanese-encephalitis.aspx" TargetMode="External"/><Relationship Id="rId2" Type="http://schemas.openxmlformats.org/officeDocument/2006/relationships/notesSlide" Target="../notesSlides/notesSlide2.xml"/><Relationship Id="rId1" Type="http://schemas.openxmlformats.org/officeDocument/2006/relationships/slideLayout" Target="../slideLayouts/slideLayout24.xml"/><Relationship Id="rId5" Type="http://schemas.openxmlformats.org/officeDocument/2006/relationships/hyperlink" Target="https://www.health.nsw.gov.au/jevaccine" TargetMode="External"/><Relationship Id="rId4" Type="http://schemas.openxmlformats.org/officeDocument/2006/relationships/hyperlink" Target="https://www.safework.nsw.gov.au/safety-alerts/safety-alerts/japanese-encephalitis"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https://www.health.nsw.gov.au/environment/pests/vector/Pages/japanese-encephalitis.aspx" TargetMode="External"/><Relationship Id="rId2" Type="http://schemas.openxmlformats.org/officeDocument/2006/relationships/notesSlide" Target="../notesSlides/notesSlide3.xml"/><Relationship Id="rId1" Type="http://schemas.openxmlformats.org/officeDocument/2006/relationships/slideLayout" Target="../slideLayouts/slideLayout24.xml"/><Relationship Id="rId4" Type="http://schemas.openxmlformats.org/officeDocument/2006/relationships/hyperlink" Target="https://www.health.nsw.gov.au/JEvaccine"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24.xml"/><Relationship Id="rId6" Type="http://schemas.openxmlformats.org/officeDocument/2006/relationships/hyperlink" Target="https://www.dropbox.com/s/mumk76b4vnt9srx/JEV_Now%20is%20the%20time%20to%20find%20out%20if%20you%20are%20elgible%20for%20the%20free%20JEV.png?dl=0" TargetMode="External"/><Relationship Id="rId5" Type="http://schemas.openxmlformats.org/officeDocument/2006/relationships/hyperlink" Target="https://www.dropbox.com/s/u6qbspbho2lgnco/Work%20with%20pigs%20or%20water%20birds?dl=0" TargetMode="External"/><Relationship Id="rId4" Type="http://schemas.openxmlformats.org/officeDocument/2006/relationships/hyperlink" Target="https://www.health.nsw.gov.au/environment/pests/vector/Pages/japanese-encephalitis.aspx"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www.health.nsw.gov.au/environment/pests/vector/Pages/japanese-encephalitis.aspx" TargetMode="External"/><Relationship Id="rId7"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24.xml"/><Relationship Id="rId6" Type="http://schemas.openxmlformats.org/officeDocument/2006/relationships/image" Target="../media/image14.png"/><Relationship Id="rId5" Type="http://schemas.openxmlformats.org/officeDocument/2006/relationships/hyperlink" Target="https://www.dropbox.com/s/xi1f0oqisrp99bo/JEV_JE%20is%20a%20rare%20but%20serious%20disease.png?dl=0" TargetMode="External"/><Relationship Id="rId4" Type="http://schemas.openxmlformats.org/officeDocument/2006/relationships/hyperlink" Target="https://www.dropbox.com/s/96soxjlp8iiieug/JEV%20is%20spread%20to%20humans%20by%20infected%20mosquitos.png?dl=0"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24.xml"/><Relationship Id="rId6" Type="http://schemas.openxmlformats.org/officeDocument/2006/relationships/hyperlink" Target="https://www.dropbox.com/s/8gjlq8zin868zl1/JEV_Mosquitoes%20increase%20with%20floods.png?dl=0" TargetMode="External"/><Relationship Id="rId5" Type="http://schemas.openxmlformats.org/officeDocument/2006/relationships/hyperlink" Target="https://www.dropbox.com/s/xuus9c8n0zcpcir/JEV_Working%20on%20flood%20response.png?dl=0" TargetMode="External"/><Relationship Id="rId4" Type="http://schemas.openxmlformats.org/officeDocument/2006/relationships/hyperlink" Target="https://www.health.nsw.gov.au/environment/pests/vector/Pages/japanese-encephalitis.aspx"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https://www.dropbox.com/s/cfb28vc7bhgln8p/Protect%20yourself%20against%20JEV%20today%20posterai.pdf?dl=0" TargetMode="External"/><Relationship Id="rId7"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24.xml"/><Relationship Id="rId6" Type="http://schemas.openxmlformats.org/officeDocument/2006/relationships/image" Target="../media/image18.png"/><Relationship Id="rId5" Type="http://schemas.openxmlformats.org/officeDocument/2006/relationships/hyperlink" Target="https://www.dropbox.com/s/b6ij4sv69rcvqw5/Protect%20yourself.%20Cover%20up.pdf?dl=0" TargetMode="External"/><Relationship Id="rId4" Type="http://schemas.openxmlformats.org/officeDocument/2006/relationships/hyperlink" Target="http://www.health.nsw.gov.au/JEvaccine"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s://www.dropbox.com/s/lyfk3pq1iguywdg/Keep%20mosquitoes%20out%20poster.pdf?dl=0" TargetMode="External"/><Relationship Id="rId2" Type="http://schemas.openxmlformats.org/officeDocument/2006/relationships/notesSlide" Target="../notesSlides/notesSlide8.xml"/><Relationship Id="rId1" Type="http://schemas.openxmlformats.org/officeDocument/2006/relationships/slideLayout" Target="../slideLayouts/slideLayout2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hyperlink" Target="https://www.dropbox.com/s/vy7vesaoysoclfc/Repellent%20on%2C%20mosquitoes%20off%20poster.pdf?dl=0"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C3E598B-DCBA-246C-EC71-22B1E7B3468C}"/>
              </a:ext>
            </a:extLst>
          </p:cNvPr>
          <p:cNvSpPr>
            <a:spLocks noGrp="1"/>
          </p:cNvSpPr>
          <p:nvPr>
            <p:ph type="body" sz="quarter" idx="10"/>
          </p:nvPr>
        </p:nvSpPr>
        <p:spPr>
          <a:xfrm>
            <a:off x="660444" y="4361002"/>
            <a:ext cx="6541314" cy="1089583"/>
          </a:xfrm>
        </p:spPr>
        <p:txBody>
          <a:bodyPr/>
          <a:lstStyle/>
          <a:p>
            <a:r>
              <a:rPr lang="en-AU" sz="2000"/>
              <a:t>Communication toolkit for workplaces</a:t>
            </a:r>
          </a:p>
        </p:txBody>
      </p:sp>
      <p:sp>
        <p:nvSpPr>
          <p:cNvPr id="5" name="Text Placeholder 4">
            <a:extLst>
              <a:ext uri="{FF2B5EF4-FFF2-40B4-BE49-F238E27FC236}">
                <a16:creationId xmlns:a16="http://schemas.microsoft.com/office/drawing/2014/main" id="{1B9305B1-4010-B82A-CD67-E085499EA970}"/>
              </a:ext>
            </a:extLst>
          </p:cNvPr>
          <p:cNvSpPr>
            <a:spLocks noGrp="1"/>
          </p:cNvSpPr>
          <p:nvPr>
            <p:ph type="body" sz="quarter" idx="12"/>
          </p:nvPr>
        </p:nvSpPr>
        <p:spPr/>
        <p:txBody>
          <a:bodyPr/>
          <a:lstStyle/>
          <a:p>
            <a:r>
              <a:rPr lang="en-AU" sz="2000"/>
              <a:t>October </a:t>
            </a:r>
            <a:r>
              <a:rPr lang="en-AU" sz="2000">
                <a:latin typeface="+mj-lt"/>
              </a:rPr>
              <a:t>2022</a:t>
            </a:r>
            <a:r>
              <a:rPr lang="en-AU"/>
              <a:t> </a:t>
            </a:r>
          </a:p>
        </p:txBody>
      </p:sp>
      <p:sp>
        <p:nvSpPr>
          <p:cNvPr id="6" name="TextBox 5">
            <a:extLst>
              <a:ext uri="{FF2B5EF4-FFF2-40B4-BE49-F238E27FC236}">
                <a16:creationId xmlns:a16="http://schemas.microsoft.com/office/drawing/2014/main" id="{78CA25D1-29D6-B56A-CE64-8AF1125E1658}"/>
              </a:ext>
            </a:extLst>
          </p:cNvPr>
          <p:cNvSpPr txBox="1"/>
          <p:nvPr/>
        </p:nvSpPr>
        <p:spPr>
          <a:xfrm>
            <a:off x="660444" y="3367901"/>
            <a:ext cx="9176283" cy="276999"/>
          </a:xfrm>
          <a:prstGeom prst="rect">
            <a:avLst/>
          </a:prstGeom>
          <a:noFill/>
        </p:spPr>
        <p:txBody>
          <a:bodyPr wrap="square" lIns="0" tIns="0" rIns="0" bIns="0" rtlCol="0">
            <a:spAutoFit/>
          </a:bodyPr>
          <a:lstStyle/>
          <a:p>
            <a:pPr marL="0" marR="0" lvl="0" indent="0" algn="l" defTabSz="914400" rtl="0" eaLnBrk="1" fontAlgn="base" latinLnBrk="0" hangingPunct="1">
              <a:lnSpc>
                <a:spcPct val="90000"/>
              </a:lnSpc>
              <a:spcBef>
                <a:spcPct val="0"/>
              </a:spcBef>
              <a:spcAft>
                <a:spcPts val="800"/>
              </a:spcAft>
              <a:buClrTx/>
              <a:buSzTx/>
              <a:buFontTx/>
              <a:buNone/>
              <a:tabLst/>
              <a:defRPr/>
            </a:pPr>
            <a:r>
              <a:rPr kumimoji="0" lang="en-AU" sz="2000" b="0" i="0" u="none" strike="noStrike" kern="1200" cap="none" spc="0" normalizeH="0" baseline="0" noProof="0">
                <a:ln>
                  <a:noFill/>
                </a:ln>
                <a:solidFill>
                  <a:prstClr val="white"/>
                </a:solidFill>
                <a:effectLst/>
                <a:uLnTx/>
                <a:uFillTx/>
                <a:latin typeface="+mj-lt"/>
                <a:ea typeface="+mn-ea"/>
                <a:cs typeface="+mn-cs"/>
              </a:rPr>
              <a:t>NSW Health and NSW Department of Customer Service</a:t>
            </a:r>
          </a:p>
        </p:txBody>
      </p:sp>
      <p:sp>
        <p:nvSpPr>
          <p:cNvPr id="7" name="Title 5">
            <a:extLst>
              <a:ext uri="{FF2B5EF4-FFF2-40B4-BE49-F238E27FC236}">
                <a16:creationId xmlns:a16="http://schemas.microsoft.com/office/drawing/2014/main" id="{58BE9F9B-A687-4956-5555-139E3F6D9DFF}"/>
              </a:ext>
            </a:extLst>
          </p:cNvPr>
          <p:cNvSpPr txBox="1">
            <a:spLocks/>
          </p:cNvSpPr>
          <p:nvPr/>
        </p:nvSpPr>
        <p:spPr>
          <a:xfrm>
            <a:off x="607695" y="1124332"/>
            <a:ext cx="10977362" cy="1917028"/>
          </a:xfrm>
          <a:prstGeom prst="rect">
            <a:avLst/>
          </a:prstGeom>
          <a:ln>
            <a:noFill/>
          </a:ln>
        </p:spPr>
        <p:txBody>
          <a:bodyPr vert="horz" wrap="square" lIns="0" tIns="0" rIns="0" bIns="0" rtlCol="0" anchor="b">
            <a:normAutofit lnSpcReduction="10000"/>
          </a:bodyPr>
          <a:lstStyle>
            <a:lvl1pPr algn="l" defTabSz="914400" rtl="0" eaLnBrk="1" latinLnBrk="0" hangingPunct="1">
              <a:lnSpc>
                <a:spcPct val="90000"/>
              </a:lnSpc>
              <a:spcBef>
                <a:spcPct val="0"/>
              </a:spcBef>
              <a:buNone/>
              <a:defRPr sz="4800" b="1" kern="1200">
                <a:solidFill>
                  <a:schemeClr val="bg1"/>
                </a:solidFill>
                <a:latin typeface="+mj-lt"/>
                <a:ea typeface="+mj-ea"/>
                <a:cs typeface="+mj-cs"/>
              </a:defRPr>
            </a:lvl1pPr>
          </a:lstStyle>
          <a:p>
            <a:pPr>
              <a:lnSpc>
                <a:spcPct val="120000"/>
              </a:lnSpc>
            </a:pPr>
            <a:r>
              <a:rPr lang="en-US" sz="3600" b="0"/>
              <a:t>Japanese encephalitis: vaccination alert </a:t>
            </a:r>
            <a:br>
              <a:rPr lang="en-US" sz="3600" b="0"/>
            </a:br>
            <a:r>
              <a:rPr lang="en-US" sz="3600" b="0"/>
              <a:t>for businesses in high-risk industries and </a:t>
            </a:r>
            <a:br>
              <a:rPr lang="en-US" sz="3600" b="0"/>
            </a:br>
            <a:r>
              <a:rPr lang="en-US" sz="3600" b="0"/>
              <a:t>the flood response</a:t>
            </a:r>
            <a:endParaRPr lang="en-US" sz="2400"/>
          </a:p>
        </p:txBody>
      </p:sp>
    </p:spTree>
    <p:extLst>
      <p:ext uri="{BB962C8B-B14F-4D97-AF65-F5344CB8AC3E}">
        <p14:creationId xmlns:p14="http://schemas.microsoft.com/office/powerpoint/2010/main" val="3836760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73004-C9D1-3194-CD00-4C3B7C1A078C}"/>
              </a:ext>
            </a:extLst>
          </p:cNvPr>
          <p:cNvSpPr>
            <a:spLocks noGrp="1"/>
          </p:cNvSpPr>
          <p:nvPr>
            <p:ph type="title"/>
          </p:nvPr>
        </p:nvSpPr>
        <p:spPr>
          <a:xfrm>
            <a:off x="360000" y="437490"/>
            <a:ext cx="9720000" cy="458606"/>
          </a:xfrm>
        </p:spPr>
        <p:txBody>
          <a:bodyPr/>
          <a:lstStyle/>
          <a:p>
            <a:r>
              <a:rPr kumimoji="0" lang="fr-FR" sz="2600" b="0" i="0" u="none" strike="noStrike" kern="1200" cap="none" spc="0" normalizeH="0" baseline="0" noProof="0" dirty="0" err="1">
                <a:ln>
                  <a:noFill/>
                </a:ln>
                <a:solidFill>
                  <a:srgbClr val="22272B"/>
                </a:solidFill>
                <a:effectLst/>
                <a:uLnTx/>
                <a:uFillTx/>
                <a:latin typeface="Public Sans"/>
                <a:ea typeface="+mj-ea"/>
                <a:cs typeface="+mj-cs"/>
              </a:rPr>
              <a:t>Japanese</a:t>
            </a:r>
            <a:r>
              <a:rPr kumimoji="0" lang="fr-FR" sz="2600" b="0" i="0" u="none" strike="noStrike" kern="1200" cap="none" spc="0" normalizeH="0" baseline="0" noProof="0" dirty="0">
                <a:ln>
                  <a:noFill/>
                </a:ln>
                <a:solidFill>
                  <a:srgbClr val="22272B"/>
                </a:solidFill>
                <a:effectLst/>
                <a:uLnTx/>
                <a:uFillTx/>
                <a:latin typeface="Public Sans"/>
                <a:ea typeface="+mj-ea"/>
                <a:cs typeface="+mj-cs"/>
              </a:rPr>
              <a:t> </a:t>
            </a:r>
            <a:r>
              <a:rPr kumimoji="0" lang="fr-FR" sz="2600" b="0" i="0" u="none" strike="noStrike" kern="1200" cap="none" spc="0" normalizeH="0" baseline="0" noProof="0" dirty="0" err="1">
                <a:ln>
                  <a:noFill/>
                </a:ln>
                <a:solidFill>
                  <a:srgbClr val="22272B"/>
                </a:solidFill>
                <a:effectLst/>
                <a:uLnTx/>
                <a:uFillTx/>
                <a:latin typeface="Public Sans"/>
                <a:ea typeface="+mj-ea"/>
                <a:cs typeface="+mj-cs"/>
              </a:rPr>
              <a:t>encephalitis</a:t>
            </a:r>
            <a:r>
              <a:rPr kumimoji="0" lang="fr-FR" sz="2600" b="0" i="0" u="none" strike="noStrike" kern="1200" cap="none" spc="0" normalizeH="0" baseline="0" noProof="0" dirty="0">
                <a:ln>
                  <a:noFill/>
                </a:ln>
                <a:solidFill>
                  <a:srgbClr val="22272B"/>
                </a:solidFill>
                <a:effectLst/>
                <a:uLnTx/>
                <a:uFillTx/>
                <a:latin typeface="Public Sans"/>
                <a:ea typeface="+mj-ea"/>
                <a:cs typeface="+mj-cs"/>
              </a:rPr>
              <a:t> virus</a:t>
            </a:r>
            <a:r>
              <a:rPr lang="fr-FR" sz="2600" dirty="0">
                <a:solidFill>
                  <a:srgbClr val="22272B"/>
                </a:solidFill>
                <a:latin typeface="Public Sans"/>
              </a:rPr>
              <a:t>: </a:t>
            </a:r>
            <a:r>
              <a:rPr lang="fr-FR" sz="2600" dirty="0" err="1">
                <a:solidFill>
                  <a:srgbClr val="22272B"/>
                </a:solidFill>
                <a:latin typeface="Public Sans"/>
              </a:rPr>
              <a:t>translated</a:t>
            </a:r>
            <a:r>
              <a:rPr lang="fr-FR" sz="2600" dirty="0">
                <a:solidFill>
                  <a:srgbClr val="22272B"/>
                </a:solidFill>
                <a:latin typeface="Public Sans"/>
              </a:rPr>
              <a:t> </a:t>
            </a:r>
            <a:r>
              <a:rPr lang="fr-FR" sz="2600" dirty="0" err="1">
                <a:solidFill>
                  <a:srgbClr val="22272B"/>
                </a:solidFill>
                <a:latin typeface="Public Sans"/>
              </a:rPr>
              <a:t>fact</a:t>
            </a:r>
            <a:r>
              <a:rPr lang="fr-FR" sz="2600" dirty="0">
                <a:solidFill>
                  <a:srgbClr val="22272B"/>
                </a:solidFill>
                <a:latin typeface="Public Sans"/>
              </a:rPr>
              <a:t> </a:t>
            </a:r>
            <a:r>
              <a:rPr lang="fr-FR" sz="2600" dirty="0" err="1">
                <a:solidFill>
                  <a:srgbClr val="22272B"/>
                </a:solidFill>
                <a:latin typeface="Public Sans"/>
              </a:rPr>
              <a:t>sheet</a:t>
            </a:r>
            <a:r>
              <a:rPr lang="fr-FR" sz="2600" dirty="0">
                <a:solidFill>
                  <a:srgbClr val="22272B"/>
                </a:solidFill>
                <a:latin typeface="Public Sans"/>
              </a:rPr>
              <a:t> </a:t>
            </a:r>
            <a:endParaRPr lang="en-AU" dirty="0"/>
          </a:p>
        </p:txBody>
      </p:sp>
      <p:sp>
        <p:nvSpPr>
          <p:cNvPr id="4" name="Slide Number Placeholder 3">
            <a:extLst>
              <a:ext uri="{FF2B5EF4-FFF2-40B4-BE49-F238E27FC236}">
                <a16:creationId xmlns:a16="http://schemas.microsoft.com/office/drawing/2014/main" id="{49E8A4CC-9A30-3DA2-8C5F-6C0EF8A9117F}"/>
              </a:ext>
            </a:extLst>
          </p:cNvPr>
          <p:cNvSpPr>
            <a:spLocks noGrp="1"/>
          </p:cNvSpPr>
          <p:nvPr>
            <p:ph type="sldNum" sz="quarter" idx="12"/>
          </p:nvPr>
        </p:nvSpPr>
        <p:spPr/>
        <p:txBody>
          <a:bodyPr/>
          <a:lstStyle/>
          <a:p>
            <a:fld id="{10A01DC5-1685-4615-8240-15192985C6A2}" type="slidenum">
              <a:rPr lang="en-AU" smtClean="0"/>
              <a:pPr/>
              <a:t>10</a:t>
            </a:fld>
            <a:endParaRPr lang="en-AU"/>
          </a:p>
        </p:txBody>
      </p:sp>
      <p:sp>
        <p:nvSpPr>
          <p:cNvPr id="6" name="TextBox 5">
            <a:extLst>
              <a:ext uri="{FF2B5EF4-FFF2-40B4-BE49-F238E27FC236}">
                <a16:creationId xmlns:a16="http://schemas.microsoft.com/office/drawing/2014/main" id="{B6448129-A64F-8D66-1321-FE8E340F089B}"/>
              </a:ext>
            </a:extLst>
          </p:cNvPr>
          <p:cNvSpPr txBox="1"/>
          <p:nvPr/>
        </p:nvSpPr>
        <p:spPr>
          <a:xfrm>
            <a:off x="4452652" y="1142748"/>
            <a:ext cx="6305901" cy="899029"/>
          </a:xfrm>
          <a:prstGeom prst="rect">
            <a:avLst/>
          </a:prstGeom>
          <a:noFill/>
        </p:spPr>
        <p:txBody>
          <a:bodyPr wrap="square" lIns="91440" tIns="45720" rIns="91440" bIns="45720" rtlCol="0" anchor="t">
            <a:spAutoFit/>
          </a:bodyPr>
          <a:lstStyle/>
          <a:p>
            <a:pPr>
              <a:lnSpc>
                <a:spcPts val="1600"/>
              </a:lnSpc>
              <a:spcBef>
                <a:spcPts val="600"/>
              </a:spcBef>
              <a:spcAft>
                <a:spcPts val="600"/>
              </a:spcAft>
            </a:pPr>
            <a:r>
              <a:rPr lang="en-US" sz="1100" b="1"/>
              <a:t>Languages available:</a:t>
            </a:r>
            <a:br>
              <a:rPr lang="en-US" sz="1100" b="1"/>
            </a:br>
            <a:br>
              <a:rPr lang="en-US" sz="1100" b="1"/>
            </a:br>
            <a:r>
              <a:rPr lang="en-US" sz="1100">
                <a:hlinkClick r:id="rId2"/>
              </a:rPr>
              <a:t>Arabic</a:t>
            </a:r>
            <a:r>
              <a:rPr lang="en-US" sz="1100"/>
              <a:t>, </a:t>
            </a:r>
            <a:r>
              <a:rPr lang="en-US" sz="1100">
                <a:hlinkClick r:id="rId3"/>
              </a:rPr>
              <a:t>Chinese </a:t>
            </a:r>
            <a:r>
              <a:rPr lang="en-AU" sz="1100">
                <a:hlinkClick r:id="rId3"/>
              </a:rPr>
              <a:t>–</a:t>
            </a:r>
            <a:r>
              <a:rPr lang="en-US" sz="1100">
                <a:hlinkClick r:id="rId3"/>
              </a:rPr>
              <a:t> Simplified</a:t>
            </a:r>
            <a:r>
              <a:rPr lang="en-US" sz="1100"/>
              <a:t>, </a:t>
            </a:r>
            <a:r>
              <a:rPr lang="en-US" sz="1100">
                <a:hlinkClick r:id="rId4"/>
              </a:rPr>
              <a:t>English</a:t>
            </a:r>
            <a:r>
              <a:rPr lang="en-US" sz="1100"/>
              <a:t>, </a:t>
            </a:r>
            <a:r>
              <a:rPr lang="en-US" sz="1100">
                <a:hlinkClick r:id="rId5"/>
              </a:rPr>
              <a:t>Filipino</a:t>
            </a:r>
            <a:r>
              <a:rPr lang="en-US" sz="1100"/>
              <a:t>, </a:t>
            </a:r>
            <a:r>
              <a:rPr lang="en-US" sz="1100">
                <a:hlinkClick r:id="rId6"/>
              </a:rPr>
              <a:t>Hindi</a:t>
            </a:r>
            <a:r>
              <a:rPr lang="en-US" sz="1100"/>
              <a:t>, </a:t>
            </a:r>
            <a:r>
              <a:rPr lang="en-US" sz="1100">
                <a:hlinkClick r:id="rId7"/>
              </a:rPr>
              <a:t>Italian</a:t>
            </a:r>
            <a:r>
              <a:rPr lang="en-US" sz="1100"/>
              <a:t>, </a:t>
            </a:r>
            <a:r>
              <a:rPr lang="en-AU" sz="1100">
                <a:solidFill>
                  <a:srgbClr val="22272B"/>
                </a:solidFill>
                <a:hlinkClick r:id="rId8"/>
              </a:rPr>
              <a:t>Kurdish – </a:t>
            </a:r>
            <a:r>
              <a:rPr lang="en-AU" sz="1100" err="1">
                <a:hlinkClick r:id="rId8"/>
              </a:rPr>
              <a:t>Kurmanji</a:t>
            </a:r>
            <a:r>
              <a:rPr lang="en-AU" sz="1100"/>
              <a:t>, </a:t>
            </a:r>
            <a:r>
              <a:rPr lang="en-AU" sz="1100">
                <a:hlinkClick r:id="rId9"/>
              </a:rPr>
              <a:t>Malayalam</a:t>
            </a:r>
            <a:r>
              <a:rPr lang="en-AU" sz="1100"/>
              <a:t>, </a:t>
            </a:r>
            <a:r>
              <a:rPr lang="en-AU" sz="1100">
                <a:hlinkClick r:id="rId10"/>
              </a:rPr>
              <a:t>Nepali</a:t>
            </a:r>
            <a:r>
              <a:rPr lang="en-AU" sz="1100"/>
              <a:t>, </a:t>
            </a:r>
            <a:r>
              <a:rPr lang="en-AU" sz="1100">
                <a:hlinkClick r:id="rId11"/>
              </a:rPr>
              <a:t>Punjabi</a:t>
            </a:r>
            <a:r>
              <a:rPr lang="en-AU" sz="1100"/>
              <a:t>, </a:t>
            </a:r>
            <a:r>
              <a:rPr lang="en-AU" sz="1100">
                <a:hlinkClick r:id="rId12"/>
              </a:rPr>
              <a:t>Vietnamese</a:t>
            </a:r>
            <a:endParaRPr lang="en-US" sz="1100"/>
          </a:p>
        </p:txBody>
      </p:sp>
      <p:pic>
        <p:nvPicPr>
          <p:cNvPr id="7" name="Picture 6">
            <a:extLst>
              <a:ext uri="{FF2B5EF4-FFF2-40B4-BE49-F238E27FC236}">
                <a16:creationId xmlns:a16="http://schemas.microsoft.com/office/drawing/2014/main" id="{2B4E307D-D452-262F-11D5-A40108438281}"/>
              </a:ext>
            </a:extLst>
          </p:cNvPr>
          <p:cNvPicPr>
            <a:picLocks noChangeAspect="1"/>
          </p:cNvPicPr>
          <p:nvPr/>
        </p:nvPicPr>
        <p:blipFill rotWithShape="1">
          <a:blip r:embed="rId13"/>
          <a:srcRect t="-1" b="205"/>
          <a:stretch/>
        </p:blipFill>
        <p:spPr>
          <a:xfrm>
            <a:off x="704849" y="1601787"/>
            <a:ext cx="3262699" cy="4635501"/>
          </a:xfrm>
          <a:prstGeom prst="rect">
            <a:avLst/>
          </a:prstGeom>
          <a:effectLst>
            <a:outerShdw blurRad="50800" dist="38100" dir="2700000" algn="ctr" rotWithShape="0">
              <a:srgbClr val="000000">
                <a:alpha val="40000"/>
              </a:srgbClr>
            </a:outerShdw>
          </a:effectLst>
        </p:spPr>
      </p:pic>
    </p:spTree>
    <p:extLst>
      <p:ext uri="{BB962C8B-B14F-4D97-AF65-F5344CB8AC3E}">
        <p14:creationId xmlns:p14="http://schemas.microsoft.com/office/powerpoint/2010/main" val="37741821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73004-C9D1-3194-CD00-4C3B7C1A078C}"/>
              </a:ext>
            </a:extLst>
          </p:cNvPr>
          <p:cNvSpPr>
            <a:spLocks noGrp="1"/>
          </p:cNvSpPr>
          <p:nvPr>
            <p:ph type="title"/>
          </p:nvPr>
        </p:nvSpPr>
        <p:spPr>
          <a:xfrm>
            <a:off x="360000" y="437490"/>
            <a:ext cx="9720000" cy="458606"/>
          </a:xfrm>
        </p:spPr>
        <p:txBody>
          <a:bodyPr/>
          <a:lstStyle/>
          <a:p>
            <a:r>
              <a:rPr kumimoji="0" lang="fr-FR" sz="2600" b="0" i="0" u="none" strike="noStrike" kern="1200" cap="none" spc="0" normalizeH="0" baseline="0" noProof="0" dirty="0" err="1">
                <a:ln>
                  <a:noFill/>
                </a:ln>
                <a:solidFill>
                  <a:srgbClr val="22272B"/>
                </a:solidFill>
                <a:effectLst/>
                <a:uLnTx/>
                <a:uFillTx/>
                <a:latin typeface="Public Sans"/>
                <a:ea typeface="+mj-ea"/>
                <a:cs typeface="+mj-cs"/>
              </a:rPr>
              <a:t>Japanese</a:t>
            </a:r>
            <a:r>
              <a:rPr kumimoji="0" lang="fr-FR" sz="2600" b="0" i="0" u="none" strike="noStrike" kern="1200" cap="none" spc="0" normalizeH="0" baseline="0" noProof="0" dirty="0">
                <a:ln>
                  <a:noFill/>
                </a:ln>
                <a:solidFill>
                  <a:srgbClr val="22272B"/>
                </a:solidFill>
                <a:effectLst/>
                <a:uLnTx/>
                <a:uFillTx/>
                <a:latin typeface="Public Sans"/>
                <a:ea typeface="+mj-ea"/>
                <a:cs typeface="+mj-cs"/>
              </a:rPr>
              <a:t> </a:t>
            </a:r>
            <a:r>
              <a:rPr kumimoji="0" lang="fr-FR" sz="2600" b="0" i="0" u="none" strike="noStrike" kern="1200" cap="none" spc="0" normalizeH="0" baseline="0" noProof="0" dirty="0" err="1">
                <a:ln>
                  <a:noFill/>
                </a:ln>
                <a:solidFill>
                  <a:srgbClr val="22272B"/>
                </a:solidFill>
                <a:effectLst/>
                <a:uLnTx/>
                <a:uFillTx/>
                <a:latin typeface="Public Sans"/>
                <a:ea typeface="+mj-ea"/>
                <a:cs typeface="+mj-cs"/>
              </a:rPr>
              <a:t>encephalitis</a:t>
            </a:r>
            <a:r>
              <a:rPr kumimoji="0" lang="fr-FR" sz="2600" b="0" i="0" u="none" strike="noStrike" kern="1200" cap="none" spc="0" normalizeH="0" baseline="0" noProof="0" dirty="0">
                <a:ln>
                  <a:noFill/>
                </a:ln>
                <a:solidFill>
                  <a:srgbClr val="22272B"/>
                </a:solidFill>
                <a:effectLst/>
                <a:uLnTx/>
                <a:uFillTx/>
                <a:latin typeface="Public Sans"/>
                <a:ea typeface="+mj-ea"/>
                <a:cs typeface="+mj-cs"/>
              </a:rPr>
              <a:t> virus</a:t>
            </a:r>
            <a:r>
              <a:rPr lang="fr-FR" sz="2600" dirty="0">
                <a:solidFill>
                  <a:srgbClr val="22272B"/>
                </a:solidFill>
                <a:latin typeface="Public Sans"/>
              </a:rPr>
              <a:t>: </a:t>
            </a:r>
            <a:r>
              <a:rPr lang="fr-FR" sz="2600" dirty="0" err="1">
                <a:solidFill>
                  <a:srgbClr val="22272B"/>
                </a:solidFill>
                <a:latin typeface="Public Sans"/>
              </a:rPr>
              <a:t>translated</a:t>
            </a:r>
            <a:r>
              <a:rPr lang="fr-FR" sz="2600" dirty="0">
                <a:solidFill>
                  <a:srgbClr val="22272B"/>
                </a:solidFill>
                <a:latin typeface="Public Sans"/>
              </a:rPr>
              <a:t> social </a:t>
            </a:r>
            <a:r>
              <a:rPr lang="fr-FR" sz="2600" dirty="0" err="1">
                <a:solidFill>
                  <a:srgbClr val="22272B"/>
                </a:solidFill>
                <a:latin typeface="Public Sans"/>
              </a:rPr>
              <a:t>tile</a:t>
            </a:r>
            <a:endParaRPr lang="en-AU" dirty="0"/>
          </a:p>
        </p:txBody>
      </p:sp>
      <p:sp>
        <p:nvSpPr>
          <p:cNvPr id="4" name="Slide Number Placeholder 3">
            <a:extLst>
              <a:ext uri="{FF2B5EF4-FFF2-40B4-BE49-F238E27FC236}">
                <a16:creationId xmlns:a16="http://schemas.microsoft.com/office/drawing/2014/main" id="{49E8A4CC-9A30-3DA2-8C5F-6C0EF8A9117F}"/>
              </a:ext>
            </a:extLst>
          </p:cNvPr>
          <p:cNvSpPr>
            <a:spLocks noGrp="1"/>
          </p:cNvSpPr>
          <p:nvPr>
            <p:ph type="sldNum" sz="quarter" idx="12"/>
          </p:nvPr>
        </p:nvSpPr>
        <p:spPr/>
        <p:txBody>
          <a:bodyPr/>
          <a:lstStyle/>
          <a:p>
            <a:fld id="{10A01DC5-1685-4615-8240-15192985C6A2}" type="slidenum">
              <a:rPr lang="en-AU" smtClean="0"/>
              <a:pPr/>
              <a:t>11</a:t>
            </a:fld>
            <a:endParaRPr lang="en-AU"/>
          </a:p>
        </p:txBody>
      </p:sp>
      <p:sp>
        <p:nvSpPr>
          <p:cNvPr id="6" name="TextBox 5">
            <a:extLst>
              <a:ext uri="{FF2B5EF4-FFF2-40B4-BE49-F238E27FC236}">
                <a16:creationId xmlns:a16="http://schemas.microsoft.com/office/drawing/2014/main" id="{B6448129-A64F-8D66-1321-FE8E340F089B}"/>
              </a:ext>
            </a:extLst>
          </p:cNvPr>
          <p:cNvSpPr txBox="1"/>
          <p:nvPr/>
        </p:nvSpPr>
        <p:spPr>
          <a:xfrm>
            <a:off x="4452652" y="1142748"/>
            <a:ext cx="6305901" cy="899029"/>
          </a:xfrm>
          <a:prstGeom prst="rect">
            <a:avLst/>
          </a:prstGeom>
          <a:noFill/>
        </p:spPr>
        <p:txBody>
          <a:bodyPr wrap="square" lIns="91440" tIns="45720" rIns="91440" bIns="45720" rtlCol="0" anchor="t">
            <a:spAutoFit/>
          </a:bodyPr>
          <a:lstStyle/>
          <a:p>
            <a:pPr>
              <a:lnSpc>
                <a:spcPts val="1600"/>
              </a:lnSpc>
              <a:spcBef>
                <a:spcPts val="600"/>
              </a:spcBef>
              <a:spcAft>
                <a:spcPts val="600"/>
              </a:spcAft>
            </a:pPr>
            <a:r>
              <a:rPr lang="en-US" sz="1100" b="1" dirty="0"/>
              <a:t>Languages available:</a:t>
            </a:r>
            <a:br>
              <a:rPr lang="en-US" sz="1100" b="1" dirty="0"/>
            </a:br>
            <a:br>
              <a:rPr lang="en-US" sz="1100" b="1" dirty="0"/>
            </a:br>
            <a:r>
              <a:rPr lang="en-US" sz="1100" dirty="0">
                <a:hlinkClick r:id="rId2"/>
              </a:rPr>
              <a:t>Arabic</a:t>
            </a:r>
            <a:r>
              <a:rPr lang="en-US" sz="1100" dirty="0"/>
              <a:t>, </a:t>
            </a:r>
            <a:r>
              <a:rPr lang="en-US" sz="1100" dirty="0">
                <a:hlinkClick r:id="rId3"/>
              </a:rPr>
              <a:t>Chinese </a:t>
            </a:r>
            <a:r>
              <a:rPr lang="en-AU" sz="1100" dirty="0">
                <a:hlinkClick r:id="rId3"/>
              </a:rPr>
              <a:t>–</a:t>
            </a:r>
            <a:r>
              <a:rPr lang="en-US" sz="1100" dirty="0">
                <a:hlinkClick r:id="rId3"/>
              </a:rPr>
              <a:t> Simplified</a:t>
            </a:r>
            <a:r>
              <a:rPr lang="en-US" sz="1100" dirty="0"/>
              <a:t>, </a:t>
            </a:r>
            <a:r>
              <a:rPr lang="en-US" sz="1100" dirty="0">
                <a:hlinkClick r:id="rId4"/>
              </a:rPr>
              <a:t>English</a:t>
            </a:r>
            <a:r>
              <a:rPr lang="en-US" sz="1100" dirty="0"/>
              <a:t>, </a:t>
            </a:r>
            <a:r>
              <a:rPr lang="en-US" sz="1100" dirty="0">
                <a:hlinkClick r:id="rId5"/>
              </a:rPr>
              <a:t>Filipino</a:t>
            </a:r>
            <a:r>
              <a:rPr lang="en-US" sz="1100" dirty="0"/>
              <a:t>, </a:t>
            </a:r>
            <a:r>
              <a:rPr lang="en-US" sz="1100" dirty="0">
                <a:hlinkClick r:id="rId6"/>
              </a:rPr>
              <a:t>Hindi</a:t>
            </a:r>
            <a:r>
              <a:rPr lang="en-US" sz="1100" dirty="0"/>
              <a:t>, </a:t>
            </a:r>
            <a:r>
              <a:rPr lang="en-US" sz="1100" dirty="0">
                <a:hlinkClick r:id="rId7"/>
              </a:rPr>
              <a:t>Italian</a:t>
            </a:r>
            <a:r>
              <a:rPr lang="en-US" sz="1100" dirty="0"/>
              <a:t>, </a:t>
            </a:r>
            <a:r>
              <a:rPr lang="en-AU" sz="1100" dirty="0">
                <a:solidFill>
                  <a:srgbClr val="22272B"/>
                </a:solidFill>
                <a:hlinkClick r:id="rId8"/>
              </a:rPr>
              <a:t>Kurdish – </a:t>
            </a:r>
            <a:r>
              <a:rPr lang="en-AU" sz="1100" dirty="0" err="1">
                <a:hlinkClick r:id="rId8"/>
              </a:rPr>
              <a:t>Kurmanji</a:t>
            </a:r>
            <a:r>
              <a:rPr lang="en-AU" sz="1100" dirty="0"/>
              <a:t>, </a:t>
            </a:r>
            <a:r>
              <a:rPr lang="en-AU" sz="1100" dirty="0">
                <a:hlinkClick r:id="rId9"/>
              </a:rPr>
              <a:t>Malayalam</a:t>
            </a:r>
            <a:r>
              <a:rPr lang="en-AU" sz="1100" dirty="0"/>
              <a:t>, </a:t>
            </a:r>
            <a:r>
              <a:rPr lang="en-AU" sz="1100" dirty="0">
                <a:hlinkClick r:id="rId10"/>
              </a:rPr>
              <a:t>Nepali,</a:t>
            </a:r>
            <a:r>
              <a:rPr lang="en-AU" sz="1100" dirty="0"/>
              <a:t> </a:t>
            </a:r>
            <a:r>
              <a:rPr lang="en-AU" sz="1100" dirty="0">
                <a:hlinkClick r:id="rId11"/>
              </a:rPr>
              <a:t>Punjabi</a:t>
            </a:r>
            <a:r>
              <a:rPr lang="en-AU" sz="1100" dirty="0"/>
              <a:t>, </a:t>
            </a:r>
            <a:r>
              <a:rPr lang="en-AU" sz="1100" dirty="0">
                <a:hlinkClick r:id="rId12"/>
              </a:rPr>
              <a:t>Vietnamese</a:t>
            </a:r>
            <a:endParaRPr lang="en-US" sz="1100" dirty="0"/>
          </a:p>
        </p:txBody>
      </p:sp>
      <p:pic>
        <p:nvPicPr>
          <p:cNvPr id="8" name="Picture 7" descr="Text, letter&#10;&#10;Description automatically generated">
            <a:extLst>
              <a:ext uri="{FF2B5EF4-FFF2-40B4-BE49-F238E27FC236}">
                <a16:creationId xmlns:a16="http://schemas.microsoft.com/office/drawing/2014/main" id="{0F576205-E8E3-E1B2-B72F-7DAD9FB31715}"/>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08973" y="1216224"/>
            <a:ext cx="3600000" cy="3600000"/>
          </a:xfrm>
          <a:prstGeom prst="rect">
            <a:avLst/>
          </a:prstGeom>
        </p:spPr>
      </p:pic>
    </p:spTree>
    <p:extLst>
      <p:ext uri="{BB962C8B-B14F-4D97-AF65-F5344CB8AC3E}">
        <p14:creationId xmlns:p14="http://schemas.microsoft.com/office/powerpoint/2010/main" val="38813765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89B20DC-B584-7BAF-0177-6EFDC8D74E3B}"/>
              </a:ext>
            </a:extLst>
          </p:cNvPr>
          <p:cNvSpPr>
            <a:spLocks noGrp="1"/>
          </p:cNvSpPr>
          <p:nvPr>
            <p:ph type="ctrTitle"/>
          </p:nvPr>
        </p:nvSpPr>
        <p:spPr>
          <a:xfrm>
            <a:off x="695325" y="1773238"/>
            <a:ext cx="10242886" cy="1204159"/>
          </a:xfrm>
        </p:spPr>
        <p:txBody>
          <a:bodyPr>
            <a:normAutofit fontScale="90000"/>
          </a:bodyPr>
          <a:lstStyle/>
          <a:p>
            <a:r>
              <a:rPr lang="en-GB"/>
              <a:t>Vaccination alert for identified local government areas </a:t>
            </a:r>
            <a:endParaRPr lang="en-AU"/>
          </a:p>
        </p:txBody>
      </p:sp>
      <p:sp>
        <p:nvSpPr>
          <p:cNvPr id="12" name="TextBox 11">
            <a:extLst>
              <a:ext uri="{FF2B5EF4-FFF2-40B4-BE49-F238E27FC236}">
                <a16:creationId xmlns:a16="http://schemas.microsoft.com/office/drawing/2014/main" id="{262CB39A-F336-3FF9-41ED-56E96155EE14}"/>
              </a:ext>
            </a:extLst>
          </p:cNvPr>
          <p:cNvSpPr txBox="1"/>
          <p:nvPr/>
        </p:nvSpPr>
        <p:spPr>
          <a:xfrm>
            <a:off x="596918" y="3862634"/>
            <a:ext cx="9938416" cy="1009081"/>
          </a:xfrm>
          <a:prstGeom prst="rect">
            <a:avLst/>
          </a:prstGeom>
          <a:noFill/>
        </p:spPr>
        <p:txBody>
          <a:bodyPr wrap="square" lIns="91440" tIns="45720" rIns="91440" bIns="45720" numCol="3" rtlCol="0" anchor="t">
            <a:noAutofit/>
          </a:bodyPr>
          <a:lstStyle/>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22272B"/>
                </a:solidFill>
                <a:effectLst/>
                <a:uLnTx/>
                <a:uFillTx/>
                <a:latin typeface="Public Sans Light"/>
                <a:ea typeface="+mn-lt"/>
                <a:cs typeface="+mn-lt"/>
              </a:rPr>
              <a:t>Albury</a:t>
            </a:r>
            <a:endParaRPr kumimoji="0" lang="en-US" sz="2400" b="0" i="0" u="none" strike="noStrike" kern="1200" cap="none" spc="0" normalizeH="0" baseline="0" noProof="0">
              <a:ln>
                <a:noFill/>
              </a:ln>
              <a:solidFill>
                <a:srgbClr val="22272B"/>
              </a:solidFill>
              <a:effectLst/>
              <a:uLnTx/>
              <a:uFillTx/>
              <a:latin typeface="Public Sans Light"/>
              <a:ea typeface="+mn-ea"/>
              <a:cs typeface="+mn-cs"/>
            </a:endParaRP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22272B"/>
                </a:solidFill>
                <a:effectLst/>
                <a:uLnTx/>
                <a:uFillTx/>
                <a:latin typeface="Public Sans Light"/>
                <a:ea typeface="+mn-lt"/>
                <a:cs typeface="+mn-lt"/>
              </a:rPr>
              <a:t>Balranald</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22272B"/>
                </a:solidFill>
                <a:effectLst/>
                <a:uLnTx/>
                <a:uFillTx/>
                <a:latin typeface="Public Sans Light"/>
                <a:ea typeface="+mn-lt"/>
                <a:cs typeface="+mn-lt"/>
              </a:rPr>
              <a:t>Berrigan</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22272B"/>
                </a:solidFill>
                <a:effectLst/>
                <a:uLnTx/>
                <a:uFillTx/>
                <a:latin typeface="Public Sans Light"/>
                <a:ea typeface="+mn-lt"/>
                <a:cs typeface="+mn-lt"/>
              </a:rPr>
              <a:t>Bland</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22272B"/>
                </a:solidFill>
                <a:effectLst/>
                <a:uLnTx/>
                <a:uFillTx/>
                <a:latin typeface="Public Sans Light"/>
                <a:ea typeface="+mn-lt"/>
                <a:cs typeface="+mn-lt"/>
              </a:rPr>
              <a:t>Bogan</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22272B"/>
                </a:solidFill>
                <a:effectLst/>
                <a:uLnTx/>
                <a:uFillTx/>
                <a:latin typeface="Public Sans Light"/>
                <a:ea typeface="+mn-lt"/>
                <a:cs typeface="+mn-lt"/>
              </a:rPr>
              <a:t>Bourke</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22272B"/>
                </a:solidFill>
                <a:effectLst/>
                <a:uLnTx/>
                <a:uFillTx/>
                <a:latin typeface="Public Sans Light"/>
                <a:ea typeface="+mn-lt"/>
                <a:cs typeface="+mn-lt"/>
              </a:rPr>
              <a:t>Brewarrina</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22272B"/>
                </a:solidFill>
                <a:effectLst/>
                <a:uLnTx/>
                <a:uFillTx/>
                <a:latin typeface="Public Sans Light"/>
                <a:ea typeface="+mn-lt"/>
                <a:cs typeface="+mn-lt"/>
              </a:rPr>
              <a:t>Broken Hill</a:t>
            </a:r>
            <a:endParaRPr kumimoji="0" lang="en-AU" sz="2400" b="0" i="0" u="none" strike="noStrike" kern="1200" cap="none" spc="0" normalizeH="0" baseline="0" noProof="0">
              <a:ln>
                <a:noFill/>
              </a:ln>
              <a:solidFill>
                <a:srgbClr val="22272B"/>
              </a:solidFill>
              <a:effectLst/>
              <a:uLnTx/>
              <a:uFillTx/>
              <a:latin typeface="Public Sans Light"/>
              <a:ea typeface="+mn-ea"/>
              <a:cs typeface="+mn-cs"/>
            </a:endParaRP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22272B"/>
                </a:solidFill>
                <a:effectLst/>
                <a:uLnTx/>
                <a:uFillTx/>
                <a:latin typeface="Public Sans Light"/>
                <a:ea typeface="+mn-lt"/>
                <a:cs typeface="+mn-lt"/>
              </a:rPr>
              <a:t>Carrathool</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22272B"/>
                </a:solidFill>
                <a:effectLst/>
                <a:uLnTx/>
                <a:uFillTx/>
                <a:latin typeface="Public Sans Light"/>
                <a:ea typeface="+mn-lt"/>
                <a:cs typeface="+mn-lt"/>
              </a:rPr>
              <a:t>Central Darling</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22272B"/>
                </a:solidFill>
                <a:effectLst/>
                <a:uLnTx/>
                <a:uFillTx/>
                <a:latin typeface="Public Sans Light"/>
                <a:ea typeface="+mn-lt"/>
                <a:cs typeface="+mn-lt"/>
              </a:rPr>
              <a:t>Cobar</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22272B"/>
                </a:solidFill>
                <a:effectLst/>
                <a:uLnTx/>
                <a:uFillTx/>
                <a:latin typeface="Public Sans Light"/>
                <a:ea typeface="+mn-lt"/>
                <a:cs typeface="+mn-lt"/>
              </a:rPr>
              <a:t>Coolamon</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22272B"/>
                </a:solidFill>
                <a:effectLst/>
                <a:uLnTx/>
                <a:uFillTx/>
                <a:latin typeface="Public Sans Light"/>
                <a:ea typeface="+mn-lt"/>
                <a:cs typeface="+mn-lt"/>
              </a:rPr>
              <a:t>Coonamble</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22272B"/>
                </a:solidFill>
                <a:effectLst/>
                <a:uLnTx/>
                <a:uFillTx/>
                <a:latin typeface="Public Sans Light"/>
                <a:ea typeface="+mn-lt"/>
                <a:cs typeface="+mn-lt"/>
              </a:rPr>
              <a:t>Dubbo Regional</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22272B"/>
                </a:solidFill>
                <a:effectLst/>
                <a:uLnTx/>
                <a:uFillTx/>
                <a:latin typeface="Public Sans Light"/>
                <a:ea typeface="+mn-lt"/>
                <a:cs typeface="+mn-lt"/>
              </a:rPr>
              <a:t>Edward River</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22272B"/>
                </a:solidFill>
                <a:effectLst/>
                <a:uLnTx/>
                <a:uFillTx/>
                <a:latin typeface="Public Sans Light"/>
                <a:ea typeface="+mn-lt"/>
                <a:cs typeface="+mn-lt"/>
              </a:rPr>
              <a:t>Federation</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22272B"/>
                </a:solidFill>
                <a:effectLst/>
                <a:uLnTx/>
                <a:uFillTx/>
                <a:latin typeface="Public Sans Light"/>
                <a:ea typeface="+mn-lt"/>
                <a:cs typeface="+mn-lt"/>
              </a:rPr>
              <a:t>Forbes</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22272B"/>
                </a:solidFill>
                <a:effectLst/>
                <a:uLnTx/>
                <a:uFillTx/>
                <a:latin typeface="Public Sans Light"/>
                <a:ea typeface="+mn-lt"/>
                <a:cs typeface="+mn-lt"/>
              </a:rPr>
              <a:t>Gilgandra</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22272B"/>
                </a:solidFill>
                <a:effectLst/>
                <a:uLnTx/>
                <a:uFillTx/>
                <a:latin typeface="Public Sans Light"/>
                <a:ea typeface="+mn-lt"/>
                <a:cs typeface="+mn-lt"/>
              </a:rPr>
              <a:t>Goulburn Mulwaree</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22272B"/>
                </a:solidFill>
                <a:effectLst/>
                <a:uLnTx/>
                <a:uFillTx/>
                <a:latin typeface="Public Sans Light"/>
                <a:ea typeface="+mn-lt"/>
                <a:cs typeface="+mn-lt"/>
              </a:rPr>
              <a:t>Greater Hume</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22272B"/>
                </a:solidFill>
                <a:effectLst/>
                <a:uLnTx/>
                <a:uFillTx/>
                <a:latin typeface="Public Sans Light"/>
                <a:ea typeface="+mn-lt"/>
                <a:cs typeface="+mn-lt"/>
              </a:rPr>
              <a:t>Griffith</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22272B"/>
                </a:solidFill>
                <a:effectLst/>
                <a:uLnTx/>
                <a:uFillTx/>
                <a:latin typeface="Public Sans Light"/>
                <a:ea typeface="+mn-lt"/>
                <a:cs typeface="+mn-lt"/>
              </a:rPr>
              <a:t>Hay</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22272B"/>
                </a:solidFill>
                <a:effectLst/>
                <a:uLnTx/>
                <a:uFillTx/>
                <a:latin typeface="Public Sans Light"/>
                <a:ea typeface="+mn-lt"/>
                <a:cs typeface="+mn-lt"/>
              </a:rPr>
              <a:t>Junee</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22272B"/>
                </a:solidFill>
                <a:effectLst/>
                <a:uLnTx/>
                <a:uFillTx/>
                <a:latin typeface="Public Sans Light"/>
                <a:ea typeface="+mn-lt"/>
                <a:cs typeface="+mn-lt"/>
              </a:rPr>
              <a:t>Lachlan</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22272B"/>
                </a:solidFill>
                <a:effectLst/>
                <a:uLnTx/>
                <a:uFillTx/>
                <a:latin typeface="Public Sans Light"/>
                <a:ea typeface="+mn-lt"/>
                <a:cs typeface="+mn-lt"/>
              </a:rPr>
              <a:t>Leeton</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22272B"/>
                </a:solidFill>
                <a:effectLst/>
                <a:uLnTx/>
                <a:uFillTx/>
                <a:latin typeface="Public Sans Light"/>
                <a:ea typeface="+mn-lt"/>
                <a:cs typeface="+mn-lt"/>
              </a:rPr>
              <a:t>Lockhart</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22272B"/>
                </a:solidFill>
                <a:effectLst/>
                <a:uLnTx/>
                <a:uFillTx/>
                <a:latin typeface="Public Sans Light"/>
                <a:ea typeface="+mn-lt"/>
                <a:cs typeface="+mn-lt"/>
              </a:rPr>
              <a:t>Moree Plains</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22272B"/>
                </a:solidFill>
                <a:effectLst/>
                <a:uLnTx/>
                <a:uFillTx/>
                <a:latin typeface="Public Sans Light"/>
                <a:ea typeface="+mn-lt"/>
                <a:cs typeface="+mn-lt"/>
              </a:rPr>
              <a:t>Murray River</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22272B"/>
                </a:solidFill>
                <a:effectLst/>
                <a:uLnTx/>
                <a:uFillTx/>
                <a:latin typeface="Public Sans Light"/>
                <a:ea typeface="+mn-lt"/>
                <a:cs typeface="+mn-lt"/>
              </a:rPr>
              <a:t>Murrumbidgee</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22272B"/>
                </a:solidFill>
                <a:effectLst/>
                <a:uLnTx/>
                <a:uFillTx/>
                <a:latin typeface="Public Sans Light"/>
                <a:ea typeface="+mn-lt"/>
                <a:cs typeface="+mn-lt"/>
              </a:rPr>
              <a:t>Narrabri</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22272B"/>
                </a:solidFill>
                <a:effectLst/>
                <a:uLnTx/>
                <a:uFillTx/>
                <a:latin typeface="Public Sans Light"/>
                <a:ea typeface="+mn-lt"/>
                <a:cs typeface="+mn-lt"/>
              </a:rPr>
              <a:t>Narrandera</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22272B"/>
                </a:solidFill>
                <a:effectLst/>
                <a:uLnTx/>
                <a:uFillTx/>
                <a:latin typeface="Public Sans Light"/>
                <a:ea typeface="+mn-lt"/>
                <a:cs typeface="+mn-lt"/>
              </a:rPr>
              <a:t>Narromine</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22272B"/>
                </a:solidFill>
                <a:effectLst/>
                <a:uLnTx/>
                <a:uFillTx/>
                <a:latin typeface="Public Sans Light"/>
                <a:ea typeface="+mn-lt"/>
                <a:cs typeface="+mn-lt"/>
              </a:rPr>
              <a:t>Parkes</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22272B"/>
                </a:solidFill>
                <a:effectLst/>
                <a:uLnTx/>
                <a:uFillTx/>
                <a:latin typeface="Public Sans Light"/>
                <a:ea typeface="+mn-lt"/>
                <a:cs typeface="+mn-lt"/>
              </a:rPr>
              <a:t>Temora</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22272B"/>
                </a:solidFill>
                <a:effectLst/>
                <a:uLnTx/>
                <a:uFillTx/>
                <a:latin typeface="Public Sans Light"/>
                <a:ea typeface="+mn-lt"/>
                <a:cs typeface="+mn-lt"/>
              </a:rPr>
              <a:t>Unincorporated Far West Area</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22272B"/>
                </a:solidFill>
                <a:effectLst/>
                <a:uLnTx/>
                <a:uFillTx/>
                <a:latin typeface="Public Sans Light"/>
                <a:ea typeface="+mn-lt"/>
                <a:cs typeface="+mn-lt"/>
              </a:rPr>
              <a:t>Wagga Wagga</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22272B"/>
                </a:solidFill>
                <a:effectLst/>
                <a:uLnTx/>
                <a:uFillTx/>
                <a:latin typeface="Public Sans Light"/>
                <a:ea typeface="+mn-lt"/>
                <a:cs typeface="+mn-lt"/>
              </a:rPr>
              <a:t>Walgett</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22272B"/>
                </a:solidFill>
                <a:effectLst/>
                <a:uLnTx/>
                <a:uFillTx/>
                <a:latin typeface="Public Sans Light"/>
                <a:ea typeface="+mn-lt"/>
                <a:cs typeface="+mn-lt"/>
              </a:rPr>
              <a:t>Warren</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22272B"/>
                </a:solidFill>
                <a:effectLst/>
                <a:uLnTx/>
                <a:uFillTx/>
                <a:latin typeface="Public Sans Light"/>
                <a:ea typeface="+mn-lt"/>
                <a:cs typeface="+mn-lt"/>
              </a:rPr>
              <a:t>Warrumbungle</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1" i="0" u="none" strike="noStrike" kern="1200" cap="none" spc="0" normalizeH="0" baseline="0" noProof="0" err="1">
                <a:ln>
                  <a:noFill/>
                </a:ln>
                <a:solidFill>
                  <a:srgbClr val="22272B"/>
                </a:solidFill>
                <a:effectLst/>
                <a:uLnTx/>
                <a:uFillTx/>
                <a:latin typeface="Public Sans Light"/>
                <a:ea typeface="+mn-lt"/>
                <a:cs typeface="+mn-lt"/>
              </a:rPr>
              <a:t>Weddin</a:t>
            </a:r>
            <a:endParaRPr kumimoji="0" lang="en-AU" sz="1200" b="1" i="0" u="none" strike="noStrike" kern="1200" cap="none" spc="0" normalizeH="0" baseline="0" noProof="0">
              <a:ln>
                <a:noFill/>
              </a:ln>
              <a:solidFill>
                <a:srgbClr val="22272B"/>
              </a:solidFill>
              <a:effectLst/>
              <a:uLnTx/>
              <a:uFillTx/>
              <a:latin typeface="Public Sans Light"/>
              <a:ea typeface="+mn-lt"/>
              <a:cs typeface="+mn-lt"/>
            </a:endParaRP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200" b="1" i="0" u="none" strike="noStrike" kern="1200" cap="none" spc="0" normalizeH="0" baseline="0" noProof="0">
                <a:ln>
                  <a:noFill/>
                </a:ln>
                <a:solidFill>
                  <a:srgbClr val="22272B"/>
                </a:solidFill>
                <a:effectLst/>
                <a:uLnTx/>
                <a:uFillTx/>
                <a:latin typeface="Public Sans Light"/>
                <a:ea typeface="+mn-lt"/>
                <a:cs typeface="+mn-lt"/>
              </a:rPr>
              <a:t>Wentworth</a:t>
            </a:r>
          </a:p>
        </p:txBody>
      </p:sp>
      <p:sp>
        <p:nvSpPr>
          <p:cNvPr id="3" name="TextBox 2">
            <a:extLst>
              <a:ext uri="{FF2B5EF4-FFF2-40B4-BE49-F238E27FC236}">
                <a16:creationId xmlns:a16="http://schemas.microsoft.com/office/drawing/2014/main" id="{DDA9FFF2-6927-0B89-2253-280A3BFC6188}"/>
              </a:ext>
            </a:extLst>
          </p:cNvPr>
          <p:cNvSpPr txBox="1"/>
          <p:nvPr/>
        </p:nvSpPr>
        <p:spPr>
          <a:xfrm>
            <a:off x="596918" y="3319323"/>
            <a:ext cx="9938416" cy="461665"/>
          </a:xfrm>
          <a:prstGeom prst="rect">
            <a:avLst/>
          </a:prstGeom>
          <a:noFill/>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rgbClr val="22272B"/>
                </a:solidFill>
                <a:effectLst/>
                <a:uLnTx/>
                <a:uFillTx/>
                <a:latin typeface="Public Sans Light"/>
                <a:ea typeface="+mn-ea"/>
                <a:cs typeface="+mn-cs"/>
              </a:rPr>
              <a:t>The local government areas below have been </a:t>
            </a:r>
            <a:r>
              <a:rPr kumimoji="0" lang="en-AU" sz="1200" b="0" i="0" u="none" strike="noStrike" kern="1200" cap="none" spc="0" normalizeH="0" baseline="0" noProof="0">
                <a:ln>
                  <a:noFill/>
                </a:ln>
                <a:solidFill>
                  <a:srgbClr val="22272B"/>
                </a:solidFill>
                <a:effectLst/>
                <a:uLnTx/>
                <a:uFillTx/>
                <a:latin typeface="Public Sans Light"/>
                <a:ea typeface="+mn-ea"/>
                <a:cs typeface="+mn-cs"/>
                <a:hlinkClick r:id="rId2"/>
              </a:rPr>
              <a:t>identified as areas of high-concern </a:t>
            </a:r>
            <a:r>
              <a:rPr kumimoji="0" lang="en-AU" sz="1200" b="0" i="0" u="none" strike="noStrike" kern="1200" cap="none" spc="0" normalizeH="0" baseline="0" noProof="0">
                <a:ln>
                  <a:noFill/>
                </a:ln>
                <a:solidFill>
                  <a:srgbClr val="22272B"/>
                </a:solidFill>
                <a:effectLst/>
                <a:uLnTx/>
                <a:uFillTx/>
                <a:latin typeface="Public Sans Light"/>
                <a:ea typeface="+mn-ea"/>
                <a:cs typeface="+mn-cs"/>
              </a:rPr>
              <a:t>for Japanese encephalitis virus. The following assets have been created to increase awareness of vaccine eligibility in these communities. </a:t>
            </a:r>
          </a:p>
        </p:txBody>
      </p:sp>
    </p:spTree>
    <p:extLst>
      <p:ext uri="{BB962C8B-B14F-4D97-AF65-F5344CB8AC3E}">
        <p14:creationId xmlns:p14="http://schemas.microsoft.com/office/powerpoint/2010/main" val="21582464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4B498-ED62-47B5-9E3A-19A0B99A75BD}"/>
              </a:ext>
            </a:extLst>
          </p:cNvPr>
          <p:cNvSpPr>
            <a:spLocks noGrp="1"/>
          </p:cNvSpPr>
          <p:nvPr>
            <p:ph type="title"/>
          </p:nvPr>
        </p:nvSpPr>
        <p:spPr>
          <a:xfrm>
            <a:off x="360000" y="439899"/>
            <a:ext cx="14036225" cy="621962"/>
          </a:xfrm>
        </p:spPr>
        <p:txBody>
          <a:bodyPr>
            <a:normAutofit/>
          </a:bodyPr>
          <a:lstStyle/>
          <a:p>
            <a:pPr>
              <a:tabLst>
                <a:tab pos="5919788" algn="l"/>
              </a:tabLst>
            </a:pPr>
            <a:r>
              <a:rPr lang="fr-FR" sz="2600" err="1">
                <a:latin typeface="Public Sans"/>
              </a:rPr>
              <a:t>Japanese</a:t>
            </a:r>
            <a:r>
              <a:rPr lang="fr-FR" sz="2600">
                <a:latin typeface="Public Sans"/>
              </a:rPr>
              <a:t> </a:t>
            </a:r>
            <a:r>
              <a:rPr lang="fr-FR" sz="2600" err="1">
                <a:latin typeface="Public Sans"/>
              </a:rPr>
              <a:t>encephalitis</a:t>
            </a:r>
            <a:r>
              <a:rPr lang="fr-FR" sz="2600">
                <a:latin typeface="Public Sans"/>
              </a:rPr>
              <a:t> vaccination </a:t>
            </a:r>
            <a:r>
              <a:rPr lang="fr-FR" sz="2600" err="1">
                <a:latin typeface="Public Sans"/>
              </a:rPr>
              <a:t>alert</a:t>
            </a:r>
            <a:r>
              <a:rPr lang="fr-FR" sz="2600">
                <a:latin typeface="Public Sans"/>
              </a:rPr>
              <a:t>: social </a:t>
            </a:r>
            <a:r>
              <a:rPr lang="fr-FR" sz="2600" err="1">
                <a:latin typeface="Public Sans"/>
              </a:rPr>
              <a:t>tile</a:t>
            </a:r>
            <a:r>
              <a:rPr lang="fr-FR" sz="2600">
                <a:latin typeface="Public Sans"/>
              </a:rPr>
              <a:t> and poster</a:t>
            </a:r>
            <a:endParaRPr lang="en-AU" sz="2600">
              <a:latin typeface="+mj-lt"/>
            </a:endParaRPr>
          </a:p>
        </p:txBody>
      </p:sp>
      <p:sp>
        <p:nvSpPr>
          <p:cNvPr id="4" name="Slide Number Placeholder 3">
            <a:extLst>
              <a:ext uri="{FF2B5EF4-FFF2-40B4-BE49-F238E27FC236}">
                <a16:creationId xmlns:a16="http://schemas.microsoft.com/office/drawing/2014/main" id="{BE890F69-7C0D-4F68-BE01-42BD45F9208C}"/>
              </a:ext>
            </a:extLst>
          </p:cNvPr>
          <p:cNvSpPr>
            <a:spLocks noGrp="1"/>
          </p:cNvSpPr>
          <p:nvPr>
            <p:ph type="sldNum" sz="quarter" idx="12"/>
          </p:nvPr>
        </p:nvSpPr>
        <p:spPr/>
        <p:txBody>
          <a:bodyPr/>
          <a:lstStyle/>
          <a:p>
            <a:fld id="{10A01DC5-1685-4615-8240-15192985C6A2}" type="slidenum">
              <a:rPr lang="en-AU" smtClean="0"/>
              <a:t>13</a:t>
            </a:fld>
            <a:endParaRPr lang="en-AU"/>
          </a:p>
        </p:txBody>
      </p:sp>
      <p:sp>
        <p:nvSpPr>
          <p:cNvPr id="20" name="TextBox 19">
            <a:extLst>
              <a:ext uri="{FF2B5EF4-FFF2-40B4-BE49-F238E27FC236}">
                <a16:creationId xmlns:a16="http://schemas.microsoft.com/office/drawing/2014/main" id="{AC7B88BD-FD15-3D3F-56CF-A413EE6050E2}"/>
              </a:ext>
            </a:extLst>
          </p:cNvPr>
          <p:cNvSpPr txBox="1"/>
          <p:nvPr/>
        </p:nvSpPr>
        <p:spPr>
          <a:xfrm>
            <a:off x="6331323" y="1120463"/>
            <a:ext cx="3565779" cy="276999"/>
          </a:xfrm>
          <a:prstGeom prst="rect">
            <a:avLst/>
          </a:prstGeom>
          <a:noFill/>
        </p:spPr>
        <p:txBody>
          <a:bodyPr wrap="square" lIns="91440" tIns="45720" rIns="91440" bIns="45720" rtlCol="0" anchor="t">
            <a:spAutoFit/>
          </a:bodyPr>
          <a:lstStyle/>
          <a:p>
            <a:r>
              <a:rPr lang="en-AU" sz="1200">
                <a:hlinkClick r:id="rId3"/>
              </a:rPr>
              <a:t>Click here to download poster</a:t>
            </a:r>
            <a:endParaRPr lang="en-AU" sz="1200"/>
          </a:p>
        </p:txBody>
      </p:sp>
      <p:sp>
        <p:nvSpPr>
          <p:cNvPr id="3" name="TextBox 2">
            <a:extLst>
              <a:ext uri="{FF2B5EF4-FFF2-40B4-BE49-F238E27FC236}">
                <a16:creationId xmlns:a16="http://schemas.microsoft.com/office/drawing/2014/main" id="{1A20FBCF-86FC-7BA6-DBB3-CA8E15F0392B}"/>
              </a:ext>
            </a:extLst>
          </p:cNvPr>
          <p:cNvSpPr txBox="1"/>
          <p:nvPr/>
        </p:nvSpPr>
        <p:spPr>
          <a:xfrm>
            <a:off x="607762" y="1130746"/>
            <a:ext cx="3565779" cy="276999"/>
          </a:xfrm>
          <a:prstGeom prst="rect">
            <a:avLst/>
          </a:prstGeom>
          <a:noFill/>
        </p:spPr>
        <p:txBody>
          <a:bodyPr wrap="square" rtlCol="0">
            <a:spAutoFit/>
          </a:bodyPr>
          <a:lstStyle/>
          <a:p>
            <a:r>
              <a:rPr lang="en-AU" sz="1200">
                <a:hlinkClick r:id="rId4"/>
              </a:rPr>
              <a:t>Click here to download social tile </a:t>
            </a:r>
            <a:endParaRPr lang="en-AU" sz="1200"/>
          </a:p>
        </p:txBody>
      </p:sp>
      <p:sp>
        <p:nvSpPr>
          <p:cNvPr id="11" name="TextBox 10">
            <a:extLst>
              <a:ext uri="{FF2B5EF4-FFF2-40B4-BE49-F238E27FC236}">
                <a16:creationId xmlns:a16="http://schemas.microsoft.com/office/drawing/2014/main" id="{872FB2B9-434E-DCC7-6EF9-022AF55C54A4}"/>
              </a:ext>
            </a:extLst>
          </p:cNvPr>
          <p:cNvSpPr txBox="1"/>
          <p:nvPr/>
        </p:nvSpPr>
        <p:spPr>
          <a:xfrm>
            <a:off x="612048" y="5310105"/>
            <a:ext cx="3692901" cy="769441"/>
          </a:xfrm>
          <a:prstGeom prst="rect">
            <a:avLst/>
          </a:prstGeom>
          <a:noFill/>
        </p:spPr>
        <p:txBody>
          <a:bodyPr wrap="square" lIns="91440" tIns="45720" rIns="91440" bIns="45720" anchor="t">
            <a:spAutoFit/>
          </a:bodyPr>
          <a:lstStyle/>
          <a:p>
            <a:r>
              <a:rPr lang="en-AU" sz="1100" b="1">
                <a:solidFill>
                  <a:srgbClr val="000000"/>
                </a:solidFill>
                <a:ea typeface="+mn-lt"/>
                <a:cs typeface="+mn-lt"/>
              </a:rPr>
              <a:t>Post: </a:t>
            </a:r>
            <a:r>
              <a:rPr lang="en-AU" sz="1100">
                <a:solidFill>
                  <a:srgbClr val="000000"/>
                </a:solidFill>
                <a:ea typeface="+mn-lt"/>
                <a:cs typeface="+mn-lt"/>
              </a:rPr>
              <a:t>Our </a:t>
            </a:r>
            <a:r>
              <a:rPr lang="en-AU" sz="1100">
                <a:ea typeface="+mn-lt"/>
                <a:cs typeface="+mn-lt"/>
              </a:rPr>
              <a:t>community has been identified by NSW Health as high-risk for the </a:t>
            </a:r>
            <a:r>
              <a:rPr lang="en-GB" sz="1100">
                <a:ea typeface="+mn-lt"/>
                <a:cs typeface="+mn-lt"/>
              </a:rPr>
              <a:t>Japanese </a:t>
            </a:r>
            <a:r>
              <a:rPr lang="en-GB" sz="1100">
                <a:solidFill>
                  <a:srgbClr val="000000"/>
                </a:solidFill>
                <a:ea typeface="+mn-lt"/>
                <a:cs typeface="+mn-lt"/>
              </a:rPr>
              <a:t>encephalitis virus. You and your children may be eligible for a free JEV vaccine. Call your GP or visit </a:t>
            </a:r>
            <a:r>
              <a:rPr lang="en-AU" sz="1100">
                <a:solidFill>
                  <a:srgbClr val="22272B"/>
                </a:solidFill>
                <a:latin typeface="Public Sans Light"/>
                <a:ea typeface="+mn-lt"/>
                <a:cs typeface="+mn-lt"/>
                <a:hlinkClick r:id="rId5"/>
              </a:rPr>
              <a:t>health.nsw.gov.au</a:t>
            </a:r>
            <a:endParaRPr lang="en-AU" sz="1100">
              <a:solidFill>
                <a:srgbClr val="000000"/>
              </a:solidFill>
              <a:ea typeface="+mn-lt"/>
              <a:cs typeface="+mn-lt"/>
            </a:endParaRPr>
          </a:p>
        </p:txBody>
      </p:sp>
      <p:pic>
        <p:nvPicPr>
          <p:cNvPr id="16" name="Picture 15" descr="Diagram, text&#10;&#10;Description automatically generated">
            <a:extLst>
              <a:ext uri="{FF2B5EF4-FFF2-40B4-BE49-F238E27FC236}">
                <a16:creationId xmlns:a16="http://schemas.microsoft.com/office/drawing/2014/main" id="{4D273230-D86B-7CDA-42C3-572C47265FC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04949" y="1599831"/>
            <a:ext cx="3600000" cy="3600000"/>
          </a:xfrm>
          <a:prstGeom prst="rect">
            <a:avLst/>
          </a:prstGeom>
          <a:ln>
            <a:solidFill>
              <a:schemeClr val="bg1">
                <a:lumMod val="85000"/>
              </a:schemeClr>
            </a:solidFill>
          </a:ln>
        </p:spPr>
      </p:pic>
      <p:pic>
        <p:nvPicPr>
          <p:cNvPr id="18" name="Picture 17" descr="Text&#10;&#10;Description automatically generated">
            <a:extLst>
              <a:ext uri="{FF2B5EF4-FFF2-40B4-BE49-F238E27FC236}">
                <a16:creationId xmlns:a16="http://schemas.microsoft.com/office/drawing/2014/main" id="{9C10556A-DF25-B4EA-24E0-99604CCE294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18816" y="1599831"/>
            <a:ext cx="3330841" cy="4320000"/>
          </a:xfrm>
          <a:prstGeom prst="rect">
            <a:avLst/>
          </a:prstGeom>
          <a:ln>
            <a:solidFill>
              <a:schemeClr val="bg1">
                <a:lumMod val="85000"/>
              </a:schemeClr>
            </a:solidFill>
          </a:ln>
          <a:effectLst>
            <a:outerShdw blurRad="50800" dist="38100" dir="2700000" algn="ctr" rotWithShape="0">
              <a:srgbClr val="000000">
                <a:alpha val="40000"/>
              </a:srgbClr>
            </a:outerShdw>
          </a:effectLst>
        </p:spPr>
      </p:pic>
    </p:spTree>
    <p:extLst>
      <p:ext uri="{BB962C8B-B14F-4D97-AF65-F5344CB8AC3E}">
        <p14:creationId xmlns:p14="http://schemas.microsoft.com/office/powerpoint/2010/main" val="26942741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4403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5">
            <a:extLst>
              <a:ext uri="{FF2B5EF4-FFF2-40B4-BE49-F238E27FC236}">
                <a16:creationId xmlns:a16="http://schemas.microsoft.com/office/drawing/2014/main" id="{5E67CFC7-6C63-44C2-8CF3-DCE502F84F02}"/>
              </a:ext>
            </a:extLst>
          </p:cNvPr>
          <p:cNvSpPr txBox="1">
            <a:spLocks/>
          </p:cNvSpPr>
          <p:nvPr/>
        </p:nvSpPr>
        <p:spPr>
          <a:xfrm>
            <a:off x="371475" y="458995"/>
            <a:ext cx="11010859" cy="477802"/>
          </a:xfrm>
          <a:prstGeom prst="rect">
            <a:avLst/>
          </a:prstGeom>
        </p:spPr>
        <p:txBody>
          <a:bodyPr vert="horz" lIns="0" tIns="0" rIns="0" bIns="0" rtlCol="0" anchor="t">
            <a:noAutofit/>
          </a:bodyPr>
          <a:lstStyle>
            <a:defPPr>
              <a:defRPr lang="en-US"/>
            </a:defPPr>
            <a:lvl1pPr defTabSz="914377">
              <a:lnSpc>
                <a:spcPct val="90000"/>
              </a:lnSpc>
              <a:spcBef>
                <a:spcPct val="0"/>
              </a:spcBef>
              <a:buNone/>
              <a:defRPr sz="3600">
                <a:latin typeface="+mj-lt"/>
                <a:ea typeface="+mj-ea"/>
                <a:cs typeface="+mj-cs"/>
              </a:defRPr>
            </a:lvl1pPr>
          </a:lstStyle>
          <a:p>
            <a:r>
              <a:rPr lang="en-AU" sz="2600"/>
              <a:t>Purpose of this toolkit</a:t>
            </a:r>
            <a:endParaRPr lang="en-AU" sz="2600">
              <a:highlight>
                <a:srgbClr val="FFFF00"/>
              </a:highlight>
            </a:endParaRPr>
          </a:p>
        </p:txBody>
      </p:sp>
      <p:sp>
        <p:nvSpPr>
          <p:cNvPr id="30" name="TextBox 29">
            <a:extLst>
              <a:ext uri="{FF2B5EF4-FFF2-40B4-BE49-F238E27FC236}">
                <a16:creationId xmlns:a16="http://schemas.microsoft.com/office/drawing/2014/main" id="{C33C2542-617F-4E68-ADEB-EDD6FBA3D83D}"/>
              </a:ext>
            </a:extLst>
          </p:cNvPr>
          <p:cNvSpPr txBox="1"/>
          <p:nvPr/>
        </p:nvSpPr>
        <p:spPr>
          <a:xfrm>
            <a:off x="609599" y="1341438"/>
            <a:ext cx="10850564" cy="453104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4000"/>
              </a:lnSpc>
              <a:spcBef>
                <a:spcPts val="600"/>
              </a:spcBef>
              <a:spcAft>
                <a:spcPts val="600"/>
              </a:spcAft>
            </a:pPr>
            <a:r>
              <a:rPr lang="en-AU" sz="1200">
                <a:ea typeface="+mn-lt"/>
                <a:cs typeface="+mn-lt"/>
              </a:rPr>
              <a:t>Japanese encephalitis virus (JEV) is spread to humans by infected mosquitoes. </a:t>
            </a:r>
            <a:r>
              <a:rPr lang="en-GB" sz="1200">
                <a:ea typeface="+mn-lt"/>
                <a:cs typeface="+mn-lt"/>
              </a:rPr>
              <a:t>JEV was recently detected in areas of regional NSW</a:t>
            </a:r>
            <a:r>
              <a:rPr lang="en-AU" sz="1200">
                <a:ea typeface="+mn-lt"/>
                <a:cs typeface="+mn-lt"/>
              </a:rPr>
              <a:t>. JEV can cause Japanese encephalitis, a rare but serious illness. With a warm, wet summer forecast, there may be more mosquitoes in the environment and some people will have a greater risk of catching JEV.  </a:t>
            </a:r>
          </a:p>
          <a:p>
            <a:pPr>
              <a:lnSpc>
                <a:spcPct val="114000"/>
              </a:lnSpc>
              <a:spcBef>
                <a:spcPts val="600"/>
              </a:spcBef>
              <a:spcAft>
                <a:spcPts val="600"/>
              </a:spcAft>
            </a:pPr>
            <a:r>
              <a:rPr lang="en-AU" sz="1200">
                <a:ea typeface="+mn-lt"/>
                <a:cs typeface="+mn-lt"/>
              </a:rPr>
              <a:t>This is particularly important for businesses and employees in </a:t>
            </a:r>
            <a:r>
              <a:rPr lang="en-AU" sz="1200"/>
              <a:t>high-risk industries, such as a piggeries, pork abattoirs, pork rendering plants or in the surveillance, control and management of mosquitoes or mosquito-borne diseases, as well as people who are working on the NSW flood response. </a:t>
            </a:r>
          </a:p>
          <a:p>
            <a:pPr>
              <a:lnSpc>
                <a:spcPct val="114000"/>
              </a:lnSpc>
              <a:spcBef>
                <a:spcPts val="600"/>
              </a:spcBef>
              <a:spcAft>
                <a:spcPts val="600"/>
              </a:spcAft>
            </a:pPr>
            <a:r>
              <a:rPr lang="en-AU" sz="1200"/>
              <a:t>It is essential that employers, employees, contractors and visitors in these businesses get their free JE vaccination as soon as possible and act to reduce the risk of mosquito bites. </a:t>
            </a:r>
            <a:r>
              <a:rPr lang="en-AU" sz="1200" err="1"/>
              <a:t>Safework</a:t>
            </a:r>
            <a:r>
              <a:rPr lang="en-AU" sz="1200"/>
              <a:t> NSW considers the JEV vaccine a </a:t>
            </a:r>
            <a:r>
              <a:rPr lang="en-AU" sz="1200">
                <a:hlinkClick r:id="rId3"/>
              </a:rPr>
              <a:t>high order control</a:t>
            </a:r>
            <a:r>
              <a:rPr lang="en-AU" sz="1200"/>
              <a:t>. </a:t>
            </a:r>
          </a:p>
          <a:p>
            <a:pPr>
              <a:lnSpc>
                <a:spcPct val="114000"/>
              </a:lnSpc>
              <a:spcBef>
                <a:spcPts val="600"/>
              </a:spcBef>
              <a:spcAft>
                <a:spcPts val="600"/>
              </a:spcAft>
            </a:pPr>
            <a:r>
              <a:rPr lang="en-AU" sz="1200" b="1">
                <a:ea typeface="+mn-lt"/>
                <a:cs typeface="+mn-lt"/>
              </a:rPr>
              <a:t>This toolkit has been developed to support communication with businesses and employees in these high-risk areas.</a:t>
            </a:r>
          </a:p>
          <a:p>
            <a:pPr>
              <a:lnSpc>
                <a:spcPct val="114000"/>
              </a:lnSpc>
              <a:spcBef>
                <a:spcPts val="600"/>
              </a:spcBef>
              <a:spcAft>
                <a:spcPts val="600"/>
              </a:spcAft>
            </a:pPr>
            <a:r>
              <a:rPr lang="en-AU" sz="1200">
                <a:ea typeface="+mn-lt"/>
                <a:cs typeface="+mn-lt"/>
              </a:rPr>
              <a:t>It contains important information and reminders that include:</a:t>
            </a:r>
          </a:p>
          <a:p>
            <a:pPr marL="171450" indent="-171450">
              <a:lnSpc>
                <a:spcPct val="114000"/>
              </a:lnSpc>
              <a:spcBef>
                <a:spcPts val="600"/>
              </a:spcBef>
              <a:spcAft>
                <a:spcPts val="600"/>
              </a:spcAft>
              <a:buFont typeface="Arial" panose="020B0604020202020204" pitchFamily="34" charset="0"/>
              <a:buChar char="•"/>
            </a:pPr>
            <a:r>
              <a:rPr lang="en-AU" sz="1200">
                <a:ea typeface="+mn-lt"/>
                <a:cs typeface="+mn-lt"/>
              </a:rPr>
              <a:t>Japanese encephalitis vaccines are available for free to people who work in </a:t>
            </a:r>
            <a:r>
              <a:rPr lang="en-AU" sz="1200">
                <a:ea typeface="+mn-lt"/>
                <a:cs typeface="+mn-lt"/>
                <a:hlinkClick r:id="rId3"/>
              </a:rPr>
              <a:t>high-risk industries</a:t>
            </a:r>
            <a:r>
              <a:rPr lang="en-AU" sz="1200">
                <a:ea typeface="+mn-lt"/>
                <a:cs typeface="+mn-lt"/>
              </a:rPr>
              <a:t> and those who are working on the flood response.</a:t>
            </a:r>
          </a:p>
          <a:p>
            <a:pPr marL="171450" indent="-171450">
              <a:lnSpc>
                <a:spcPct val="114000"/>
              </a:lnSpc>
              <a:spcBef>
                <a:spcPts val="600"/>
              </a:spcBef>
              <a:spcAft>
                <a:spcPts val="600"/>
              </a:spcAft>
              <a:buFont typeface="Arial" panose="020B0604020202020204" pitchFamily="34" charset="0"/>
              <a:buChar char="•"/>
            </a:pPr>
            <a:r>
              <a:rPr lang="en-AU" sz="1200">
                <a:ea typeface="+mn-lt"/>
                <a:cs typeface="+mn-lt"/>
              </a:rPr>
              <a:t>The importance of keeping the workplace as mosquito-free as possible by using insect screens, improving water drainage on site, and removing items that might collect water to prevent mosquito breeding.</a:t>
            </a:r>
          </a:p>
          <a:p>
            <a:pPr marL="171450" indent="-171450">
              <a:lnSpc>
                <a:spcPct val="114000"/>
              </a:lnSpc>
              <a:spcBef>
                <a:spcPts val="600"/>
              </a:spcBef>
              <a:spcAft>
                <a:spcPts val="600"/>
              </a:spcAft>
              <a:buFont typeface="Arial" panose="020B0604020202020204" pitchFamily="34" charset="0"/>
              <a:buChar char="•"/>
            </a:pPr>
            <a:r>
              <a:rPr lang="en-AU" sz="1200">
                <a:ea typeface="+mn-lt"/>
                <a:cs typeface="+mn-lt"/>
              </a:rPr>
              <a:t>Encourage staff to cover exposed skin and regularly apply insect repellent.</a:t>
            </a:r>
          </a:p>
          <a:p>
            <a:pPr>
              <a:lnSpc>
                <a:spcPct val="114000"/>
              </a:lnSpc>
              <a:spcBef>
                <a:spcPts val="600"/>
              </a:spcBef>
              <a:spcAft>
                <a:spcPts val="600"/>
              </a:spcAft>
            </a:pPr>
            <a:r>
              <a:rPr lang="en-AU" sz="1200"/>
              <a:t>The latest information for businesses can be found at </a:t>
            </a:r>
            <a:r>
              <a:rPr lang="en-AU" sz="1200">
                <a:hlinkClick r:id="rId4"/>
              </a:rPr>
              <a:t>health.nsw.gov.au </a:t>
            </a:r>
            <a:r>
              <a:rPr lang="en-AU" sz="1200"/>
              <a:t>and </a:t>
            </a:r>
            <a:r>
              <a:rPr lang="en-AU" sz="1200">
                <a:hlinkClick r:id="rId3"/>
              </a:rPr>
              <a:t>safework.nsw.gov.au</a:t>
            </a:r>
            <a:endParaRPr lang="en-AU" sz="1200"/>
          </a:p>
          <a:p>
            <a:pPr>
              <a:lnSpc>
                <a:spcPct val="114000"/>
              </a:lnSpc>
              <a:spcBef>
                <a:spcPts val="600"/>
              </a:spcBef>
              <a:spcAft>
                <a:spcPts val="600"/>
              </a:spcAft>
            </a:pPr>
            <a:r>
              <a:rPr lang="en-AU" sz="1200" b="0"/>
              <a:t>Thank you for your ongoing support to help protect the NSW community.</a:t>
            </a:r>
            <a:endParaRPr lang="en-AU" sz="1200" b="0">
              <a:cs typeface="Arial"/>
            </a:endParaRPr>
          </a:p>
        </p:txBody>
      </p:sp>
      <p:sp>
        <p:nvSpPr>
          <p:cNvPr id="4" name="Slide Number Placeholder 3">
            <a:extLst>
              <a:ext uri="{FF2B5EF4-FFF2-40B4-BE49-F238E27FC236}">
                <a16:creationId xmlns:a16="http://schemas.microsoft.com/office/drawing/2014/main" id="{41DDC92F-0DA1-0A25-CA5B-F4DFA9F51074}"/>
              </a:ext>
            </a:extLst>
          </p:cNvPr>
          <p:cNvSpPr>
            <a:spLocks noGrp="1"/>
          </p:cNvSpPr>
          <p:nvPr>
            <p:ph type="sldNum" sz="quarter" idx="12"/>
          </p:nvPr>
        </p:nvSpPr>
        <p:spPr>
          <a:xfrm>
            <a:off x="11317458" y="6516000"/>
            <a:ext cx="490542" cy="180000"/>
          </a:xfrm>
        </p:spPr>
        <p:txBody>
          <a:bodyPr/>
          <a:lstStyle/>
          <a:p>
            <a:fld id="{10A01DC5-1685-4615-8240-15192985C6A2}" type="slidenum">
              <a:rPr lang="en-AU" smtClean="0"/>
              <a:t>2</a:t>
            </a:fld>
            <a:endParaRPr lang="en-AU"/>
          </a:p>
        </p:txBody>
      </p:sp>
    </p:spTree>
    <p:extLst>
      <p:ext uri="{BB962C8B-B14F-4D97-AF65-F5344CB8AC3E}">
        <p14:creationId xmlns:p14="http://schemas.microsoft.com/office/powerpoint/2010/main" val="24245865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5">
            <a:extLst>
              <a:ext uri="{FF2B5EF4-FFF2-40B4-BE49-F238E27FC236}">
                <a16:creationId xmlns:a16="http://schemas.microsoft.com/office/drawing/2014/main" id="{5E67CFC7-6C63-44C2-8CF3-DCE502F84F02}"/>
              </a:ext>
            </a:extLst>
          </p:cNvPr>
          <p:cNvSpPr txBox="1">
            <a:spLocks/>
          </p:cNvSpPr>
          <p:nvPr/>
        </p:nvSpPr>
        <p:spPr>
          <a:xfrm>
            <a:off x="360000" y="451860"/>
            <a:ext cx="10180181" cy="526577"/>
          </a:xfrm>
          <a:prstGeom prst="rect">
            <a:avLst/>
          </a:prstGeom>
        </p:spPr>
        <p:txBody>
          <a:bodyPr vert="horz" lIns="0" tIns="0" rIns="0" bIns="0" rtlCol="0" anchor="t">
            <a:noAutofit/>
          </a:bodyPr>
          <a:lstStyle>
            <a:defPPr>
              <a:defRPr lang="en-US"/>
            </a:defPPr>
            <a:lvl1pPr defTabSz="914377">
              <a:lnSpc>
                <a:spcPct val="90000"/>
              </a:lnSpc>
              <a:spcBef>
                <a:spcPct val="0"/>
              </a:spcBef>
              <a:buNone/>
              <a:defRPr sz="3600">
                <a:latin typeface="+mj-lt"/>
                <a:ea typeface="+mj-ea"/>
                <a:cs typeface="+mj-cs"/>
              </a:defRPr>
            </a:lvl1pPr>
          </a:lstStyle>
          <a:p>
            <a:r>
              <a:rPr lang="en-AU" sz="2600">
                <a:latin typeface="Public Sans"/>
              </a:rPr>
              <a:t>Japanese encephalitis alert: Newsletter/email copy to high-risk businesses</a:t>
            </a:r>
          </a:p>
        </p:txBody>
      </p:sp>
      <p:sp>
        <p:nvSpPr>
          <p:cNvPr id="8" name="Slide Number Placeholder 3">
            <a:extLst>
              <a:ext uri="{FF2B5EF4-FFF2-40B4-BE49-F238E27FC236}">
                <a16:creationId xmlns:a16="http://schemas.microsoft.com/office/drawing/2014/main" id="{51DAB087-0A47-4187-968F-CCB3A7CA66BD}"/>
              </a:ext>
            </a:extLst>
          </p:cNvPr>
          <p:cNvSpPr>
            <a:spLocks noGrp="1"/>
          </p:cNvSpPr>
          <p:nvPr>
            <p:ph type="sldNum" sz="quarter" idx="12"/>
          </p:nvPr>
        </p:nvSpPr>
        <p:spPr>
          <a:xfrm>
            <a:off x="11317458" y="6516000"/>
            <a:ext cx="490542" cy="180000"/>
          </a:xfrm>
        </p:spPr>
        <p:txBody>
          <a:bodyPr/>
          <a:lstStyle/>
          <a:p>
            <a:fld id="{10A01DC5-1685-4615-8240-15192985C6A2}" type="slidenum">
              <a:rPr lang="en-AU" smtClean="0"/>
              <a:t>3</a:t>
            </a:fld>
            <a:endParaRPr lang="en-AU"/>
          </a:p>
        </p:txBody>
      </p:sp>
      <p:sp>
        <p:nvSpPr>
          <p:cNvPr id="11" name="TextBox 10">
            <a:extLst>
              <a:ext uri="{FF2B5EF4-FFF2-40B4-BE49-F238E27FC236}">
                <a16:creationId xmlns:a16="http://schemas.microsoft.com/office/drawing/2014/main" id="{88C9FDF5-7411-4DAA-8189-B7CE8AF61307}"/>
              </a:ext>
            </a:extLst>
          </p:cNvPr>
          <p:cNvSpPr txBox="1">
            <a:spLocks/>
          </p:cNvSpPr>
          <p:nvPr/>
        </p:nvSpPr>
        <p:spPr>
          <a:xfrm>
            <a:off x="600153" y="1126017"/>
            <a:ext cx="10500078" cy="5111271"/>
          </a:xfrm>
          <a:prstGeom prst="rect">
            <a:avLst/>
          </a:prstGeom>
          <a:noFill/>
        </p:spPr>
        <p:txBody>
          <a:bodyPr wrap="square" lIns="91440" tIns="45720" rIns="91440" bIns="45720" anchor="t">
            <a:spAutoFit/>
          </a:bodyPr>
          <a:lstStyle/>
          <a:p>
            <a:pPr defTabSz="914400">
              <a:lnSpc>
                <a:spcPct val="114000"/>
              </a:lnSpc>
              <a:spcBef>
                <a:spcPts val="400"/>
              </a:spcBef>
              <a:spcAft>
                <a:spcPts val="400"/>
              </a:spcAft>
            </a:pPr>
            <a:r>
              <a:rPr lang="en-AU" sz="1200" b="1"/>
              <a:t>Industry alert: Japanese encephalitis    </a:t>
            </a:r>
          </a:p>
          <a:p>
            <a:pPr defTabSz="914400">
              <a:lnSpc>
                <a:spcPct val="114000"/>
              </a:lnSpc>
              <a:spcBef>
                <a:spcPts val="400"/>
              </a:spcBef>
              <a:spcAft>
                <a:spcPts val="400"/>
              </a:spcAft>
            </a:pPr>
            <a:r>
              <a:rPr lang="en-AU" sz="1200"/>
              <a:t>This year’s higher-than-average rain together with warmer weather, means the risk of mosquito-borne diseases is expected to increase. Japanese encephalitis virus (JEV) was detected in </a:t>
            </a:r>
            <a:r>
              <a:rPr lang="en-AU" sz="1200">
                <a:hlinkClick r:id="rId3">
                  <a:extLst>
                    <a:ext uri="{A12FA001-AC4F-418D-AE19-62706E023703}">
                      <ahyp:hlinkClr xmlns:ahyp="http://schemas.microsoft.com/office/drawing/2018/hyperlinkcolor" val="tx"/>
                    </a:ext>
                  </a:extLst>
                </a:hlinkClick>
              </a:rPr>
              <a:t>areas of regional NSW</a:t>
            </a:r>
            <a:r>
              <a:rPr lang="en-AU" sz="1200"/>
              <a:t> in early 2022. JEV spreads from infected animals to humans via mosquitoes. In rare cases it can cause severe illness and long-term health complications. </a:t>
            </a:r>
          </a:p>
          <a:p>
            <a:pPr defTabSz="914400">
              <a:lnSpc>
                <a:spcPct val="114000"/>
              </a:lnSpc>
              <a:spcBef>
                <a:spcPts val="400"/>
              </a:spcBef>
              <a:spcAft>
                <a:spcPts val="400"/>
              </a:spcAft>
            </a:pPr>
            <a:r>
              <a:rPr lang="en-AU" sz="1200"/>
              <a:t>Now is the time for businesses in </a:t>
            </a:r>
            <a:r>
              <a:rPr lang="en-AU" sz="1200">
                <a:hlinkClick r:id="rId4"/>
              </a:rPr>
              <a:t>high-risk industries</a:t>
            </a:r>
            <a:r>
              <a:rPr lang="en-AU" sz="1200"/>
              <a:t>, and those working on the </a:t>
            </a:r>
            <a:r>
              <a:rPr lang="en-AU" sz="1200">
                <a:hlinkClick r:id="rId5"/>
              </a:rPr>
              <a:t>NSW flood response</a:t>
            </a:r>
            <a:r>
              <a:rPr lang="en-AU" sz="1200"/>
              <a:t>, to take preventative steps to help protect employees from JEV and other mosquito-borne diseases by: </a:t>
            </a:r>
          </a:p>
          <a:p>
            <a:pPr marL="228600" indent="-228600" defTabSz="914400">
              <a:lnSpc>
                <a:spcPct val="114000"/>
              </a:lnSpc>
              <a:spcBef>
                <a:spcPts val="400"/>
              </a:spcBef>
              <a:spcAft>
                <a:spcPts val="400"/>
              </a:spcAft>
              <a:buFont typeface="+mj-lt"/>
              <a:buAutoNum type="arabicPeriod"/>
            </a:pPr>
            <a:r>
              <a:rPr lang="en-AU" sz="1200" b="1"/>
              <a:t>Encouraging vaccination now. </a:t>
            </a:r>
            <a:r>
              <a:rPr lang="en-AU" sz="1200"/>
              <a:t>A free JE vaccine is available to everyone who works with pigs or regularly visits a piggery, pork abattoir or pork rendering plant; works directly or indirectly with mosquitoes, such as in surveillance (field or laboratory) or control and management of disease (e.g. entomologists); or is a diagnostic or laboratory worker that may be exposed to the virus (e.g. JEV cultures). It takes four weeks for the vaccination to take full effect so encourage your staff to </a:t>
            </a:r>
            <a:r>
              <a:rPr lang="en-US" sz="1200"/>
              <a:t>contact their GP and make an appointment as soon as possible. If you are a large business, you can encourage greater uptake among your staff by holding a clinic at your workplace. To do this, you can engage a private doctor to provide the vaccine onsite, working with your local public health unit to source vaccine supply. </a:t>
            </a:r>
            <a:endParaRPr lang="en-AU" sz="1200"/>
          </a:p>
          <a:p>
            <a:pPr marL="228600" indent="-228600" defTabSz="914400">
              <a:lnSpc>
                <a:spcPct val="113999"/>
              </a:lnSpc>
              <a:spcBef>
                <a:spcPts val="400"/>
              </a:spcBef>
              <a:spcAft>
                <a:spcPts val="400"/>
              </a:spcAft>
              <a:buFontTx/>
              <a:buAutoNum type="arabicPeriod"/>
            </a:pPr>
            <a:r>
              <a:rPr lang="en-AU" sz="1200" b="1"/>
              <a:t>Mosquito-proofing workplaces. </a:t>
            </a:r>
            <a:r>
              <a:rPr lang="en-AU" sz="1200"/>
              <a:t>Remove items that might collect water such as old tyres and empty pots where mosquitoes can breed. Improve drainage around your workplace to ensure water doesn’t become stagnant. For indoor areas, close doors and windows, or install insect screens where possible. </a:t>
            </a:r>
          </a:p>
          <a:p>
            <a:pPr marL="228600" indent="-228600" defTabSz="914400">
              <a:lnSpc>
                <a:spcPct val="113999"/>
              </a:lnSpc>
              <a:spcBef>
                <a:spcPts val="400"/>
              </a:spcBef>
              <a:spcAft>
                <a:spcPts val="400"/>
              </a:spcAft>
              <a:buFontTx/>
              <a:buAutoNum type="arabicPeriod"/>
            </a:pPr>
            <a:r>
              <a:rPr lang="en-AU" sz="1200" b="1"/>
              <a:t>Promoting bite prevention. </a:t>
            </a:r>
            <a:r>
              <a:rPr lang="en-AU" sz="1200"/>
              <a:t>Even after vaccination, encourage staff to protect themselves against mosquito bites by wearing light, loose-fitting long-sleeved shirts, long pants and covered footwear with socks. Insect repellent should also be used on any areas of exposed skin and reapplied regularly. </a:t>
            </a:r>
          </a:p>
          <a:p>
            <a:pPr defTabSz="914400">
              <a:lnSpc>
                <a:spcPct val="114000"/>
              </a:lnSpc>
              <a:spcBef>
                <a:spcPts val="400"/>
              </a:spcBef>
              <a:spcAft>
                <a:spcPts val="400"/>
              </a:spcAft>
            </a:pPr>
            <a:r>
              <a:rPr lang="en-AU" sz="1200"/>
              <a:t>It’s also important for people to remember that humans cannot get infected with JEV by touching an infected animal or by eating animal products. </a:t>
            </a:r>
          </a:p>
          <a:p>
            <a:pPr defTabSz="914400">
              <a:lnSpc>
                <a:spcPct val="114000"/>
              </a:lnSpc>
              <a:spcBef>
                <a:spcPts val="400"/>
              </a:spcBef>
              <a:spcAft>
                <a:spcPts val="400"/>
              </a:spcAft>
            </a:pPr>
            <a:r>
              <a:rPr lang="en-AU" sz="1200"/>
              <a:t>Acting now and working together will help businesses, employees and the community have the best possible protection from JEV and other mosquito-borne diseases this summer.</a:t>
            </a:r>
          </a:p>
          <a:p>
            <a:pPr defTabSz="914400">
              <a:lnSpc>
                <a:spcPct val="114000"/>
              </a:lnSpc>
              <a:spcBef>
                <a:spcPts val="400"/>
              </a:spcBef>
              <a:spcAft>
                <a:spcPts val="400"/>
              </a:spcAft>
            </a:pPr>
            <a:r>
              <a:rPr lang="en-AU" sz="1200"/>
              <a:t>The latest information for businesses can be found at </a:t>
            </a:r>
            <a:r>
              <a:rPr lang="en-AU" sz="1200">
                <a:hlinkClick r:id="rId3"/>
              </a:rPr>
              <a:t>health.nsw.gov.au  </a:t>
            </a:r>
            <a:r>
              <a:rPr lang="en-AU" sz="1200"/>
              <a:t>and </a:t>
            </a:r>
            <a:r>
              <a:rPr lang="en-AU" sz="1200">
                <a:hlinkClick r:id="rId4"/>
              </a:rPr>
              <a:t>safework.nsw.gov.au</a:t>
            </a:r>
            <a:endParaRPr lang="en-AU" sz="1200"/>
          </a:p>
        </p:txBody>
      </p:sp>
    </p:spTree>
    <p:extLst>
      <p:ext uri="{BB962C8B-B14F-4D97-AF65-F5344CB8AC3E}">
        <p14:creationId xmlns:p14="http://schemas.microsoft.com/office/powerpoint/2010/main" val="15509154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5">
            <a:extLst>
              <a:ext uri="{FF2B5EF4-FFF2-40B4-BE49-F238E27FC236}">
                <a16:creationId xmlns:a16="http://schemas.microsoft.com/office/drawing/2014/main" id="{5E67CFC7-6C63-44C2-8CF3-DCE502F84F02}"/>
              </a:ext>
            </a:extLst>
          </p:cNvPr>
          <p:cNvSpPr txBox="1">
            <a:spLocks/>
          </p:cNvSpPr>
          <p:nvPr/>
        </p:nvSpPr>
        <p:spPr>
          <a:xfrm>
            <a:off x="360000" y="447087"/>
            <a:ext cx="10180181" cy="526577"/>
          </a:xfrm>
          <a:prstGeom prst="rect">
            <a:avLst/>
          </a:prstGeom>
        </p:spPr>
        <p:txBody>
          <a:bodyPr vert="horz" lIns="0" tIns="0" rIns="0" bIns="0" rtlCol="0" anchor="t">
            <a:noAutofit/>
          </a:bodyPr>
          <a:lstStyle>
            <a:defPPr>
              <a:defRPr lang="en-US"/>
            </a:defPPr>
            <a:lvl1pPr defTabSz="914377">
              <a:lnSpc>
                <a:spcPct val="90000"/>
              </a:lnSpc>
              <a:spcBef>
                <a:spcPct val="0"/>
              </a:spcBef>
              <a:buNone/>
              <a:defRPr sz="3600">
                <a:latin typeface="+mj-lt"/>
                <a:ea typeface="+mj-ea"/>
                <a:cs typeface="+mj-cs"/>
              </a:defRPr>
            </a:lvl1pPr>
          </a:lstStyle>
          <a:p>
            <a:r>
              <a:rPr lang="en-AU" sz="2600">
                <a:latin typeface="Public Sans"/>
              </a:rPr>
              <a:t>Japanese encephalitis alert: Newsletter/email copy to staff</a:t>
            </a:r>
          </a:p>
        </p:txBody>
      </p:sp>
      <p:sp>
        <p:nvSpPr>
          <p:cNvPr id="8" name="Slide Number Placeholder 3">
            <a:extLst>
              <a:ext uri="{FF2B5EF4-FFF2-40B4-BE49-F238E27FC236}">
                <a16:creationId xmlns:a16="http://schemas.microsoft.com/office/drawing/2014/main" id="{51DAB087-0A47-4187-968F-CCB3A7CA66BD}"/>
              </a:ext>
            </a:extLst>
          </p:cNvPr>
          <p:cNvSpPr>
            <a:spLocks noGrp="1"/>
          </p:cNvSpPr>
          <p:nvPr>
            <p:ph type="sldNum" sz="quarter" idx="12"/>
          </p:nvPr>
        </p:nvSpPr>
        <p:spPr>
          <a:xfrm>
            <a:off x="11317458" y="6516000"/>
            <a:ext cx="490542" cy="180000"/>
          </a:xfrm>
        </p:spPr>
        <p:txBody>
          <a:bodyPr/>
          <a:lstStyle/>
          <a:p>
            <a:fld id="{10A01DC5-1685-4615-8240-15192985C6A2}" type="slidenum">
              <a:rPr lang="en-AU" smtClean="0"/>
              <a:t>4</a:t>
            </a:fld>
            <a:endParaRPr lang="en-AU"/>
          </a:p>
        </p:txBody>
      </p:sp>
      <p:sp>
        <p:nvSpPr>
          <p:cNvPr id="11" name="TextBox 10">
            <a:extLst>
              <a:ext uri="{FF2B5EF4-FFF2-40B4-BE49-F238E27FC236}">
                <a16:creationId xmlns:a16="http://schemas.microsoft.com/office/drawing/2014/main" id="{88C9FDF5-7411-4DAA-8189-B7CE8AF61307}"/>
              </a:ext>
            </a:extLst>
          </p:cNvPr>
          <p:cNvSpPr txBox="1">
            <a:spLocks/>
          </p:cNvSpPr>
          <p:nvPr/>
        </p:nvSpPr>
        <p:spPr>
          <a:xfrm>
            <a:off x="613964" y="1332107"/>
            <a:ext cx="10846199" cy="3535135"/>
          </a:xfrm>
          <a:prstGeom prst="rect">
            <a:avLst/>
          </a:prstGeom>
          <a:noFill/>
        </p:spPr>
        <p:txBody>
          <a:bodyPr wrap="square" lIns="91440" tIns="45720" rIns="91440" bIns="45720" anchor="t">
            <a:spAutoFit/>
          </a:bodyPr>
          <a:lstStyle/>
          <a:p>
            <a:pPr defTabSz="914400">
              <a:lnSpc>
                <a:spcPct val="114000"/>
              </a:lnSpc>
              <a:spcBef>
                <a:spcPts val="400"/>
              </a:spcBef>
              <a:spcAft>
                <a:spcPts val="400"/>
              </a:spcAft>
            </a:pPr>
            <a:r>
              <a:rPr lang="en-AU" sz="1200" b="1"/>
              <a:t>Japanese encephalitis alert </a:t>
            </a:r>
          </a:p>
          <a:p>
            <a:pPr defTabSz="914400">
              <a:lnSpc>
                <a:spcPct val="114000"/>
              </a:lnSpc>
              <a:spcBef>
                <a:spcPts val="400"/>
              </a:spcBef>
              <a:spcAft>
                <a:spcPts val="400"/>
              </a:spcAft>
            </a:pPr>
            <a:r>
              <a:rPr lang="en-AU" sz="1200"/>
              <a:t>With warm, wet weather predicted over the coming months, the risk of mosquito-borne diseases is expected to increase. It is important you are aware of the increased risk of Japanese encephalitis virus (JEV), which was detected in </a:t>
            </a:r>
            <a:r>
              <a:rPr lang="en-AU" sz="1200">
                <a:hlinkClick r:id="rId3">
                  <a:extLst>
                    <a:ext uri="{A12FA001-AC4F-418D-AE19-62706E023703}">
                      <ahyp:hlinkClr xmlns:ahyp="http://schemas.microsoft.com/office/drawing/2018/hyperlinkcolor" val="tx"/>
                    </a:ext>
                  </a:extLst>
                </a:hlinkClick>
              </a:rPr>
              <a:t>areas across regional NSW</a:t>
            </a:r>
            <a:r>
              <a:rPr lang="en-AU" sz="1200"/>
              <a:t> earlier this year.</a:t>
            </a:r>
          </a:p>
          <a:p>
            <a:pPr defTabSz="914400">
              <a:lnSpc>
                <a:spcPct val="114000"/>
              </a:lnSpc>
              <a:spcBef>
                <a:spcPts val="400"/>
              </a:spcBef>
              <a:spcAft>
                <a:spcPts val="400"/>
              </a:spcAft>
            </a:pPr>
            <a:r>
              <a:rPr lang="en-AU" sz="1200"/>
              <a:t>JEV spreads from infected animals to humans by mosquitoes. In rare cases it can cause severe illness and long-term health problems. You cannot catch JEV by touching an infected animal or by eating animal products.</a:t>
            </a:r>
          </a:p>
          <a:p>
            <a:pPr defTabSz="914400">
              <a:lnSpc>
                <a:spcPct val="114000"/>
              </a:lnSpc>
              <a:spcBef>
                <a:spcPts val="400"/>
              </a:spcBef>
              <a:spcAft>
                <a:spcPts val="400"/>
              </a:spcAft>
            </a:pPr>
            <a:r>
              <a:rPr lang="en-AU" sz="1200"/>
              <a:t>We must all help to reduce the risk of mosquitoes around our workplace and protect ourselves from JEV by: </a:t>
            </a:r>
          </a:p>
          <a:p>
            <a:pPr marL="228600" indent="-228600" defTabSz="914400">
              <a:lnSpc>
                <a:spcPct val="114000"/>
              </a:lnSpc>
              <a:spcBef>
                <a:spcPts val="400"/>
              </a:spcBef>
              <a:spcAft>
                <a:spcPts val="400"/>
              </a:spcAft>
              <a:buFontTx/>
              <a:buAutoNum type="arabicPeriod"/>
            </a:pPr>
            <a:r>
              <a:rPr lang="en-AU" sz="1200" b="1"/>
              <a:t>Getting vaccinated as soon as possible: </a:t>
            </a:r>
            <a:r>
              <a:rPr lang="en-US" sz="1200"/>
              <a:t>Because we work in an </a:t>
            </a:r>
            <a:r>
              <a:rPr lang="en-US" sz="1200">
                <a:solidFill>
                  <a:srgbClr val="22272B"/>
                </a:solidFill>
                <a:highlight>
                  <a:srgbClr val="FFFF00"/>
                </a:highlight>
                <a:hlinkClick r:id="rId4">
                  <a:extLst>
                    <a:ext uri="{A12FA001-AC4F-418D-AE19-62706E023703}">
                      <ahyp:hlinkClr xmlns:ahyp="http://schemas.microsoft.com/office/drawing/2018/hyperlinkcolor" val="tx"/>
                    </a:ext>
                  </a:extLst>
                </a:hlinkClick>
              </a:rPr>
              <a:t>industry/</a:t>
            </a:r>
            <a:r>
              <a:rPr lang="en-US" sz="1200">
                <a:highlight>
                  <a:srgbClr val="FFFF00"/>
                </a:highlight>
                <a:hlinkClick r:id="rId4">
                  <a:extLst>
                    <a:ext uri="{A12FA001-AC4F-418D-AE19-62706E023703}">
                      <ahyp:hlinkClr xmlns:ahyp="http://schemas.microsoft.com/office/drawing/2018/hyperlinkcolor" val="tx"/>
                    </a:ext>
                  </a:extLst>
                </a:hlinkClick>
              </a:rPr>
              <a:t>[or add flood location</a:t>
            </a:r>
            <a:r>
              <a:rPr lang="en-US" sz="1200">
                <a:solidFill>
                  <a:srgbClr val="22272B"/>
                </a:solidFill>
                <a:highlight>
                  <a:srgbClr val="FFFF00"/>
                </a:highlight>
                <a:hlinkClick r:id="rId4">
                  <a:extLst>
                    <a:ext uri="{A12FA001-AC4F-418D-AE19-62706E023703}">
                      <ahyp:hlinkClr xmlns:ahyp="http://schemas.microsoft.com/office/drawing/2018/hyperlinkcolor" val="tx"/>
                    </a:ext>
                  </a:extLst>
                </a:hlinkClick>
              </a:rPr>
              <a:t>]</a:t>
            </a:r>
            <a:r>
              <a:rPr lang="en-US" sz="1200">
                <a:solidFill>
                  <a:srgbClr val="22272B"/>
                </a:solidFill>
                <a:hlinkClick r:id="rId4">
                  <a:extLst>
                    <a:ext uri="{A12FA001-AC4F-418D-AE19-62706E023703}">
                      <ahyp:hlinkClr xmlns:ahyp="http://schemas.microsoft.com/office/drawing/2018/hyperlinkcolor" val="tx"/>
                    </a:ext>
                  </a:extLst>
                </a:hlinkClick>
              </a:rPr>
              <a:t> with a higher </a:t>
            </a:r>
            <a:r>
              <a:rPr lang="en-US" sz="1200" err="1">
                <a:solidFill>
                  <a:srgbClr val="22272B"/>
                </a:solidFill>
                <a:hlinkClick r:id="rId4">
                  <a:extLst>
                    <a:ext uri="{A12FA001-AC4F-418D-AE19-62706E023703}">
                      <ahyp:hlinkClr xmlns:ahyp="http://schemas.microsoft.com/office/drawing/2018/hyperlinkcolor" val="tx"/>
                    </a:ext>
                  </a:extLst>
                </a:hlinkClick>
              </a:rPr>
              <a:t>risk</a:t>
            </a:r>
            <a:r>
              <a:rPr lang="en-US" sz="1200" err="1"/>
              <a:t>of</a:t>
            </a:r>
            <a:r>
              <a:rPr lang="en-US" sz="1200"/>
              <a:t> exposure to JEV, you can receive a free JE vaccine. It takes four weeks from the day you are vaccinated to be fully protected, so contact your GP to make an appointment today.</a:t>
            </a:r>
            <a:endParaRPr lang="en-AU" sz="1200"/>
          </a:p>
          <a:p>
            <a:pPr marL="228600" indent="-228600" defTabSz="914400">
              <a:lnSpc>
                <a:spcPct val="114000"/>
              </a:lnSpc>
              <a:spcBef>
                <a:spcPts val="400"/>
              </a:spcBef>
              <a:spcAft>
                <a:spcPts val="400"/>
              </a:spcAft>
              <a:buFontTx/>
              <a:buAutoNum type="arabicPeriod"/>
            </a:pPr>
            <a:r>
              <a:rPr lang="en-AU" sz="1200" b="1"/>
              <a:t>Keeping our workplace safe from mosquitoes. </a:t>
            </a:r>
            <a:r>
              <a:rPr lang="en-AU" sz="1200"/>
              <a:t>It’s important that we reduce mosquitoes around our workplace.</a:t>
            </a:r>
            <a:r>
              <a:rPr lang="en-AU" sz="1200" b="1"/>
              <a:t> </a:t>
            </a:r>
            <a:r>
              <a:rPr lang="en-AU" sz="1200"/>
              <a:t>Keep doors and windows closed where possible, and make sure to clean up any items that might collect water, such as old tyres and empty pots, where mosquitoes can breed. </a:t>
            </a:r>
          </a:p>
          <a:p>
            <a:pPr marL="228600" indent="-228600" defTabSz="914400">
              <a:lnSpc>
                <a:spcPct val="114000"/>
              </a:lnSpc>
              <a:spcBef>
                <a:spcPts val="400"/>
              </a:spcBef>
              <a:spcAft>
                <a:spcPts val="400"/>
              </a:spcAft>
              <a:buFontTx/>
              <a:buAutoNum type="arabicPeriod"/>
            </a:pPr>
            <a:r>
              <a:rPr lang="en-AU" sz="1200" b="1"/>
              <a:t>Preventing mosquito bites. </a:t>
            </a:r>
            <a:r>
              <a:rPr lang="en-AU" sz="1200"/>
              <a:t>Even if you’re vaccinated against JE, you still need to protect yourself from other mosquito-borne diseases. Wear light, loose-fitting long-sleeved shirts, long pants and covered footwear with socks. Apply insect repellent regularly to any areas of exposed skin.</a:t>
            </a:r>
          </a:p>
          <a:p>
            <a:pPr defTabSz="914400">
              <a:lnSpc>
                <a:spcPct val="114000"/>
              </a:lnSpc>
              <a:spcBef>
                <a:spcPts val="400"/>
              </a:spcBef>
              <a:spcAft>
                <a:spcPts val="400"/>
              </a:spcAft>
            </a:pPr>
            <a:r>
              <a:rPr lang="en-AU" sz="1200"/>
              <a:t>The latest information can be found at </a:t>
            </a:r>
            <a:r>
              <a:rPr lang="en-AU" sz="1200">
                <a:hlinkClick r:id="rId3"/>
              </a:rPr>
              <a:t>health.nsw.gov.au</a:t>
            </a:r>
            <a:r>
              <a:rPr lang="en-AU" sz="1200"/>
              <a:t>, or contact </a:t>
            </a:r>
            <a:r>
              <a:rPr lang="en-AU" sz="1200">
                <a:highlight>
                  <a:srgbClr val="FFFF00"/>
                </a:highlight>
              </a:rPr>
              <a:t>[workplace contact]</a:t>
            </a:r>
            <a:r>
              <a:rPr lang="en-AU" sz="1200"/>
              <a:t> if you have any questions.</a:t>
            </a:r>
          </a:p>
        </p:txBody>
      </p:sp>
    </p:spTree>
    <p:extLst>
      <p:ext uri="{BB962C8B-B14F-4D97-AF65-F5344CB8AC3E}">
        <p14:creationId xmlns:p14="http://schemas.microsoft.com/office/powerpoint/2010/main" val="17643842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5085938-F41B-0C84-A093-ACBB6AE92849}"/>
              </a:ext>
            </a:extLst>
          </p:cNvPr>
          <p:cNvPicPr>
            <a:picLocks noChangeAspect="1"/>
          </p:cNvPicPr>
          <p:nvPr/>
        </p:nvPicPr>
        <p:blipFill>
          <a:blip r:embed="rId3"/>
          <a:stretch>
            <a:fillRect/>
          </a:stretch>
        </p:blipFill>
        <p:spPr>
          <a:xfrm>
            <a:off x="6415681" y="1608073"/>
            <a:ext cx="3603048" cy="3603048"/>
          </a:xfrm>
          <a:prstGeom prst="rect">
            <a:avLst/>
          </a:prstGeom>
          <a:ln>
            <a:solidFill>
              <a:schemeClr val="bg1">
                <a:lumMod val="85000"/>
              </a:schemeClr>
            </a:solidFill>
          </a:ln>
        </p:spPr>
      </p:pic>
      <p:sp>
        <p:nvSpPr>
          <p:cNvPr id="2" name="Title 1">
            <a:extLst>
              <a:ext uri="{FF2B5EF4-FFF2-40B4-BE49-F238E27FC236}">
                <a16:creationId xmlns:a16="http://schemas.microsoft.com/office/drawing/2014/main" id="{AEA4B498-ED62-47B5-9E3A-19A0B99A75BD}"/>
              </a:ext>
            </a:extLst>
          </p:cNvPr>
          <p:cNvSpPr>
            <a:spLocks noGrp="1"/>
          </p:cNvSpPr>
          <p:nvPr>
            <p:ph type="title"/>
          </p:nvPr>
        </p:nvSpPr>
        <p:spPr>
          <a:xfrm>
            <a:off x="360000" y="439899"/>
            <a:ext cx="14036225" cy="621962"/>
          </a:xfrm>
        </p:spPr>
        <p:txBody>
          <a:bodyPr>
            <a:normAutofit/>
          </a:bodyPr>
          <a:lstStyle/>
          <a:p>
            <a:r>
              <a:rPr lang="en-AU" sz="2600">
                <a:latin typeface="+mj-lt"/>
              </a:rPr>
              <a:t>Japanese encephalitis alert: social content</a:t>
            </a:r>
          </a:p>
        </p:txBody>
      </p:sp>
      <p:sp>
        <p:nvSpPr>
          <p:cNvPr id="4" name="Slide Number Placeholder 3">
            <a:extLst>
              <a:ext uri="{FF2B5EF4-FFF2-40B4-BE49-F238E27FC236}">
                <a16:creationId xmlns:a16="http://schemas.microsoft.com/office/drawing/2014/main" id="{BE890F69-7C0D-4F68-BE01-42BD45F9208C}"/>
              </a:ext>
            </a:extLst>
          </p:cNvPr>
          <p:cNvSpPr>
            <a:spLocks noGrp="1"/>
          </p:cNvSpPr>
          <p:nvPr>
            <p:ph type="sldNum" sz="quarter" idx="12"/>
          </p:nvPr>
        </p:nvSpPr>
        <p:spPr/>
        <p:txBody>
          <a:bodyPr/>
          <a:lstStyle/>
          <a:p>
            <a:fld id="{10A01DC5-1685-4615-8240-15192985C6A2}" type="slidenum">
              <a:rPr lang="en-AU" smtClean="0"/>
              <a:t>5</a:t>
            </a:fld>
            <a:endParaRPr lang="en-AU"/>
          </a:p>
        </p:txBody>
      </p:sp>
      <p:sp>
        <p:nvSpPr>
          <p:cNvPr id="10" name="TextBox 9">
            <a:extLst>
              <a:ext uri="{FF2B5EF4-FFF2-40B4-BE49-F238E27FC236}">
                <a16:creationId xmlns:a16="http://schemas.microsoft.com/office/drawing/2014/main" id="{6508278C-2747-5C69-D56C-425C3B53BB23}"/>
              </a:ext>
            </a:extLst>
          </p:cNvPr>
          <p:cNvSpPr txBox="1"/>
          <p:nvPr/>
        </p:nvSpPr>
        <p:spPr>
          <a:xfrm>
            <a:off x="6310059" y="5255058"/>
            <a:ext cx="3708670" cy="1107996"/>
          </a:xfrm>
          <a:prstGeom prst="rect">
            <a:avLst/>
          </a:prstGeom>
          <a:noFill/>
        </p:spPr>
        <p:txBody>
          <a:bodyPr wrap="square" lIns="91440" tIns="45720" rIns="91440" bIns="45720" anchor="t">
            <a:spAutoFit/>
          </a:bodyPr>
          <a:lstStyle/>
          <a:p>
            <a:r>
              <a:rPr lang="en-AU" sz="1100" b="1">
                <a:solidFill>
                  <a:srgbClr val="000000"/>
                </a:solidFill>
                <a:ea typeface="+mn-lt"/>
                <a:cs typeface="+mn-lt"/>
              </a:rPr>
              <a:t>Post: </a:t>
            </a:r>
            <a:r>
              <a:rPr lang="en-AU" sz="1100"/>
              <a:t>Japanese encephalitis is a rare but serious disease spread to humans by infected mosquitoes. Working in high-risk industries means you may be eligible for a free vaccine. </a:t>
            </a:r>
            <a:r>
              <a:rPr lang="en-AU" sz="1100">
                <a:ea typeface="+mn-lt"/>
                <a:cs typeface="+mn-lt"/>
              </a:rPr>
              <a:t>Immunity can take up to four weeks - contact your GP today and learn more at </a:t>
            </a:r>
            <a:r>
              <a:rPr lang="en-AU" sz="1100">
                <a:ea typeface="+mn-lt"/>
                <a:cs typeface="+mn-lt"/>
                <a:hlinkClick r:id="rId4"/>
              </a:rPr>
              <a:t>health.nsw.gov.au.</a:t>
            </a:r>
            <a:endParaRPr lang="en-US" sz="1100"/>
          </a:p>
        </p:txBody>
      </p:sp>
      <p:sp>
        <p:nvSpPr>
          <p:cNvPr id="20" name="TextBox 19">
            <a:extLst>
              <a:ext uri="{FF2B5EF4-FFF2-40B4-BE49-F238E27FC236}">
                <a16:creationId xmlns:a16="http://schemas.microsoft.com/office/drawing/2014/main" id="{AC7B88BD-FD15-3D3F-56CF-A413EE6050E2}"/>
              </a:ext>
            </a:extLst>
          </p:cNvPr>
          <p:cNvSpPr txBox="1"/>
          <p:nvPr/>
        </p:nvSpPr>
        <p:spPr>
          <a:xfrm>
            <a:off x="6310059" y="1141656"/>
            <a:ext cx="3565779" cy="276999"/>
          </a:xfrm>
          <a:prstGeom prst="rect">
            <a:avLst/>
          </a:prstGeom>
          <a:noFill/>
        </p:spPr>
        <p:txBody>
          <a:bodyPr wrap="square" rtlCol="0">
            <a:spAutoFit/>
          </a:bodyPr>
          <a:lstStyle/>
          <a:p>
            <a:r>
              <a:rPr lang="en-AU" sz="1200">
                <a:hlinkClick r:id="rId5"/>
              </a:rPr>
              <a:t>Click here to download social tile </a:t>
            </a:r>
            <a:endParaRPr lang="en-AU" sz="1200"/>
          </a:p>
        </p:txBody>
      </p:sp>
      <p:sp>
        <p:nvSpPr>
          <p:cNvPr id="3" name="TextBox 2">
            <a:extLst>
              <a:ext uri="{FF2B5EF4-FFF2-40B4-BE49-F238E27FC236}">
                <a16:creationId xmlns:a16="http://schemas.microsoft.com/office/drawing/2014/main" id="{1A20FBCF-86FC-7BA6-DBB3-CA8E15F0392B}"/>
              </a:ext>
            </a:extLst>
          </p:cNvPr>
          <p:cNvSpPr txBox="1"/>
          <p:nvPr/>
        </p:nvSpPr>
        <p:spPr>
          <a:xfrm>
            <a:off x="600674" y="1137763"/>
            <a:ext cx="3565779" cy="276999"/>
          </a:xfrm>
          <a:prstGeom prst="rect">
            <a:avLst/>
          </a:prstGeom>
          <a:noFill/>
        </p:spPr>
        <p:txBody>
          <a:bodyPr wrap="square" rtlCol="0">
            <a:spAutoFit/>
          </a:bodyPr>
          <a:lstStyle/>
          <a:p>
            <a:r>
              <a:rPr lang="en-AU" sz="1200">
                <a:hlinkClick r:id="rId6"/>
              </a:rPr>
              <a:t>Click here to download social tile </a:t>
            </a:r>
            <a:endParaRPr lang="en-AU" sz="1200"/>
          </a:p>
        </p:txBody>
      </p:sp>
      <p:sp>
        <p:nvSpPr>
          <p:cNvPr id="7" name="TextBox 6">
            <a:extLst>
              <a:ext uri="{FF2B5EF4-FFF2-40B4-BE49-F238E27FC236}">
                <a16:creationId xmlns:a16="http://schemas.microsoft.com/office/drawing/2014/main" id="{1336B3BA-A498-6321-6C34-0988FB86A738}"/>
              </a:ext>
            </a:extLst>
          </p:cNvPr>
          <p:cNvSpPr txBox="1"/>
          <p:nvPr/>
        </p:nvSpPr>
        <p:spPr>
          <a:xfrm>
            <a:off x="591049" y="5255058"/>
            <a:ext cx="3692901" cy="1107996"/>
          </a:xfrm>
          <a:prstGeom prst="rect">
            <a:avLst/>
          </a:prstGeom>
          <a:noFill/>
        </p:spPr>
        <p:txBody>
          <a:bodyPr wrap="square" lIns="91440" tIns="45720" rIns="91440" bIns="45720" anchor="t">
            <a:spAutoFit/>
          </a:bodyPr>
          <a:lstStyle/>
          <a:p>
            <a:r>
              <a:rPr lang="en-AU" sz="1100" b="1">
                <a:solidFill>
                  <a:srgbClr val="000000"/>
                </a:solidFill>
                <a:ea typeface="+mn-lt"/>
                <a:cs typeface="+mn-lt"/>
              </a:rPr>
              <a:t>Post: </a:t>
            </a:r>
            <a:r>
              <a:rPr lang="en-AU" sz="1100"/>
              <a:t>Japanese encephalitis is a rare but serious disease spread to humans by infected mosquitoes. A free vaccine is available for people in NSW who are at higher risk of catching the virus, including people who work in [</a:t>
            </a:r>
            <a:r>
              <a:rPr lang="en-AU" sz="1100">
                <a:highlight>
                  <a:srgbClr val="FFFF00"/>
                </a:highlight>
              </a:rPr>
              <a:t>insert industry e.g. piggeries</a:t>
            </a:r>
            <a:r>
              <a:rPr lang="en-AU" sz="1100"/>
              <a:t>]. </a:t>
            </a:r>
            <a:r>
              <a:rPr lang="en-AU" sz="1100">
                <a:ea typeface="+mn-lt"/>
                <a:cs typeface="+mn-lt"/>
              </a:rPr>
              <a:t>Immunity can take up to four weeks - contact your GP today and learn more at </a:t>
            </a:r>
            <a:r>
              <a:rPr lang="en-AU" sz="1100">
                <a:ea typeface="+mn-lt"/>
                <a:cs typeface="+mn-lt"/>
                <a:hlinkClick r:id="rId4"/>
              </a:rPr>
              <a:t>health.nsw.gov.au.</a:t>
            </a:r>
            <a:endParaRPr lang="en-US" sz="1100"/>
          </a:p>
        </p:txBody>
      </p:sp>
      <p:pic>
        <p:nvPicPr>
          <p:cNvPr id="5" name="Picture 4" descr="Diagram, text&#10;&#10;Description automatically generated">
            <a:extLst>
              <a:ext uri="{FF2B5EF4-FFF2-40B4-BE49-F238E27FC236}">
                <a16:creationId xmlns:a16="http://schemas.microsoft.com/office/drawing/2014/main" id="{8982A93F-BF15-41C7-F276-815B3C21AF3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04950" y="1601888"/>
            <a:ext cx="3600000" cy="3600000"/>
          </a:xfrm>
          <a:prstGeom prst="rect">
            <a:avLst/>
          </a:prstGeom>
          <a:ln>
            <a:solidFill>
              <a:schemeClr val="bg1">
                <a:lumMod val="85000"/>
              </a:schemeClr>
            </a:solidFill>
          </a:ln>
        </p:spPr>
      </p:pic>
    </p:spTree>
    <p:extLst>
      <p:ext uri="{BB962C8B-B14F-4D97-AF65-F5344CB8AC3E}">
        <p14:creationId xmlns:p14="http://schemas.microsoft.com/office/powerpoint/2010/main" val="31349877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4B498-ED62-47B5-9E3A-19A0B99A75BD}"/>
              </a:ext>
            </a:extLst>
          </p:cNvPr>
          <p:cNvSpPr>
            <a:spLocks noGrp="1"/>
          </p:cNvSpPr>
          <p:nvPr>
            <p:ph type="title"/>
          </p:nvPr>
        </p:nvSpPr>
        <p:spPr>
          <a:xfrm>
            <a:off x="360000" y="439899"/>
            <a:ext cx="14036225" cy="621962"/>
          </a:xfrm>
        </p:spPr>
        <p:txBody>
          <a:bodyPr>
            <a:normAutofit/>
          </a:bodyPr>
          <a:lstStyle/>
          <a:p>
            <a:r>
              <a:rPr lang="en-AU" sz="2600">
                <a:latin typeface="+mj-lt"/>
              </a:rPr>
              <a:t>Japanese encephalitis alert: social content</a:t>
            </a:r>
          </a:p>
        </p:txBody>
      </p:sp>
      <p:sp>
        <p:nvSpPr>
          <p:cNvPr id="4" name="Slide Number Placeholder 3">
            <a:extLst>
              <a:ext uri="{FF2B5EF4-FFF2-40B4-BE49-F238E27FC236}">
                <a16:creationId xmlns:a16="http://schemas.microsoft.com/office/drawing/2014/main" id="{BE890F69-7C0D-4F68-BE01-42BD45F9208C}"/>
              </a:ext>
            </a:extLst>
          </p:cNvPr>
          <p:cNvSpPr>
            <a:spLocks noGrp="1"/>
          </p:cNvSpPr>
          <p:nvPr>
            <p:ph type="sldNum" sz="quarter" idx="12"/>
          </p:nvPr>
        </p:nvSpPr>
        <p:spPr/>
        <p:txBody>
          <a:bodyPr/>
          <a:lstStyle/>
          <a:p>
            <a:fld id="{10A01DC5-1685-4615-8240-15192985C6A2}" type="slidenum">
              <a:rPr lang="en-AU" smtClean="0"/>
              <a:t>6</a:t>
            </a:fld>
            <a:endParaRPr lang="en-AU"/>
          </a:p>
        </p:txBody>
      </p:sp>
      <p:sp>
        <p:nvSpPr>
          <p:cNvPr id="11" name="TextBox 10">
            <a:extLst>
              <a:ext uri="{FF2B5EF4-FFF2-40B4-BE49-F238E27FC236}">
                <a16:creationId xmlns:a16="http://schemas.microsoft.com/office/drawing/2014/main" id="{C77371DD-A001-46E2-BC93-8F1D7B529EF8}"/>
              </a:ext>
            </a:extLst>
          </p:cNvPr>
          <p:cNvSpPr txBox="1"/>
          <p:nvPr/>
        </p:nvSpPr>
        <p:spPr>
          <a:xfrm>
            <a:off x="606075" y="5258876"/>
            <a:ext cx="3664456" cy="938719"/>
          </a:xfrm>
          <a:prstGeom prst="rect">
            <a:avLst/>
          </a:prstGeom>
          <a:noFill/>
        </p:spPr>
        <p:txBody>
          <a:bodyPr wrap="square" lIns="91440" tIns="45720" rIns="91440" bIns="45720" anchor="t">
            <a:spAutoFit/>
          </a:bodyPr>
          <a:lstStyle/>
          <a:p>
            <a:r>
              <a:rPr lang="en-AU" sz="1100" b="1">
                <a:ea typeface="+mn-lt"/>
                <a:cs typeface="+mn-lt"/>
              </a:rPr>
              <a:t>Post: </a:t>
            </a:r>
            <a:r>
              <a:rPr lang="en-AU" sz="1100">
                <a:ea typeface="+mn-lt"/>
                <a:cs typeface="+mn-lt"/>
              </a:rPr>
              <a:t>Japanese encephalitis virus spreads from infected animals to humans via mosquitoes. It can cause a rare but serious disease. Protect yourself by preventing mosquito bites and get vaccinated if you are eligible. Learn more at </a:t>
            </a:r>
            <a:r>
              <a:rPr lang="en-AU" sz="1100">
                <a:ea typeface="+mn-lt"/>
                <a:cs typeface="+mn-lt"/>
                <a:hlinkClick r:id="rId3"/>
              </a:rPr>
              <a:t>health.nsw.gov.au.</a:t>
            </a:r>
            <a:endParaRPr lang="en-AU" sz="1100"/>
          </a:p>
        </p:txBody>
      </p:sp>
      <p:sp>
        <p:nvSpPr>
          <p:cNvPr id="10" name="TextBox 9">
            <a:extLst>
              <a:ext uri="{FF2B5EF4-FFF2-40B4-BE49-F238E27FC236}">
                <a16:creationId xmlns:a16="http://schemas.microsoft.com/office/drawing/2014/main" id="{6508278C-2747-5C69-D56C-425C3B53BB23}"/>
              </a:ext>
            </a:extLst>
          </p:cNvPr>
          <p:cNvSpPr txBox="1"/>
          <p:nvPr/>
        </p:nvSpPr>
        <p:spPr>
          <a:xfrm>
            <a:off x="6323279" y="5265904"/>
            <a:ext cx="3589227" cy="1107996"/>
          </a:xfrm>
          <a:prstGeom prst="rect">
            <a:avLst/>
          </a:prstGeom>
          <a:noFill/>
        </p:spPr>
        <p:txBody>
          <a:bodyPr wrap="square" lIns="91440" tIns="45720" rIns="91440" bIns="45720" anchor="t">
            <a:spAutoFit/>
          </a:bodyPr>
          <a:lstStyle/>
          <a:p>
            <a:r>
              <a:rPr lang="en-AU" sz="1100" b="1">
                <a:solidFill>
                  <a:srgbClr val="000000"/>
                </a:solidFill>
                <a:ea typeface="+mn-lt"/>
                <a:cs typeface="+mn-lt"/>
              </a:rPr>
              <a:t>Post: </a:t>
            </a:r>
            <a:r>
              <a:rPr lang="en-AU" sz="1100">
                <a:solidFill>
                  <a:srgbClr val="000000"/>
                </a:solidFill>
                <a:ea typeface="+mn-lt"/>
                <a:cs typeface="+mn-lt"/>
              </a:rPr>
              <a:t>Japanese encephalitis virus that is spread to humans via mosquitoes. It can cause a rare but serious disease. Protect yourself by preventing mosquito bites. A free vaccine is available in NSW for people at higher risk. Learn more at </a:t>
            </a:r>
            <a:r>
              <a:rPr lang="en-AU" sz="1100">
                <a:ea typeface="+mn-lt"/>
                <a:cs typeface="+mn-lt"/>
                <a:hlinkClick r:id="rId3"/>
              </a:rPr>
              <a:t>health.nsw.gov.au.</a:t>
            </a:r>
            <a:endParaRPr lang="en-US" sz="1100"/>
          </a:p>
        </p:txBody>
      </p:sp>
      <p:sp>
        <p:nvSpPr>
          <p:cNvPr id="3" name="TextBox 2">
            <a:extLst>
              <a:ext uri="{FF2B5EF4-FFF2-40B4-BE49-F238E27FC236}">
                <a16:creationId xmlns:a16="http://schemas.microsoft.com/office/drawing/2014/main" id="{3FC5C935-EF71-3A73-87D3-988929B3784E}"/>
              </a:ext>
            </a:extLst>
          </p:cNvPr>
          <p:cNvSpPr txBox="1"/>
          <p:nvPr/>
        </p:nvSpPr>
        <p:spPr>
          <a:xfrm>
            <a:off x="606075" y="1143750"/>
            <a:ext cx="3565779" cy="276999"/>
          </a:xfrm>
          <a:prstGeom prst="rect">
            <a:avLst/>
          </a:prstGeom>
          <a:noFill/>
        </p:spPr>
        <p:txBody>
          <a:bodyPr wrap="square" rtlCol="0">
            <a:spAutoFit/>
          </a:bodyPr>
          <a:lstStyle/>
          <a:p>
            <a:pPr>
              <a:spcAft>
                <a:spcPts val="600"/>
              </a:spcAft>
            </a:pPr>
            <a:r>
              <a:rPr lang="en-US" sz="1200" u="sng">
                <a:hlinkClick r:id="rId4"/>
              </a:rPr>
              <a:t>Click here to download social tile</a:t>
            </a:r>
            <a:endParaRPr lang="en-AU" sz="1200" u="sng"/>
          </a:p>
        </p:txBody>
      </p:sp>
      <p:sp>
        <p:nvSpPr>
          <p:cNvPr id="20" name="TextBox 19">
            <a:extLst>
              <a:ext uri="{FF2B5EF4-FFF2-40B4-BE49-F238E27FC236}">
                <a16:creationId xmlns:a16="http://schemas.microsoft.com/office/drawing/2014/main" id="{AC7B88BD-FD15-3D3F-56CF-A413EE6050E2}"/>
              </a:ext>
            </a:extLst>
          </p:cNvPr>
          <p:cNvSpPr txBox="1"/>
          <p:nvPr/>
        </p:nvSpPr>
        <p:spPr>
          <a:xfrm>
            <a:off x="6313948" y="1143750"/>
            <a:ext cx="3565779" cy="276999"/>
          </a:xfrm>
          <a:prstGeom prst="rect">
            <a:avLst/>
          </a:prstGeom>
          <a:noFill/>
        </p:spPr>
        <p:txBody>
          <a:bodyPr wrap="square" rtlCol="0">
            <a:spAutoFit/>
          </a:bodyPr>
          <a:lstStyle/>
          <a:p>
            <a:r>
              <a:rPr lang="en-AU" sz="1200" u="sng">
                <a:hlinkClick r:id="rId5"/>
              </a:rPr>
              <a:t>Click here to download social tile </a:t>
            </a:r>
            <a:endParaRPr lang="en-AU" sz="1200" u="sng"/>
          </a:p>
        </p:txBody>
      </p:sp>
      <p:pic>
        <p:nvPicPr>
          <p:cNvPr id="6" name="Picture 5" descr="A picture containing diagram&#10;&#10;Description automatically generated">
            <a:extLst>
              <a:ext uri="{FF2B5EF4-FFF2-40B4-BE49-F238E27FC236}">
                <a16:creationId xmlns:a16="http://schemas.microsoft.com/office/drawing/2014/main" id="{196E53C2-BC90-E7B8-FA6B-FC0CD4B3806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04950" y="1601125"/>
            <a:ext cx="3600000" cy="3600000"/>
          </a:xfrm>
          <a:prstGeom prst="rect">
            <a:avLst/>
          </a:prstGeom>
          <a:ln>
            <a:solidFill>
              <a:schemeClr val="bg1">
                <a:lumMod val="85000"/>
              </a:schemeClr>
            </a:solidFill>
          </a:ln>
        </p:spPr>
      </p:pic>
      <p:pic>
        <p:nvPicPr>
          <p:cNvPr id="9" name="Picture 8" descr="Diagram&#10;&#10;Description automatically generated">
            <a:extLst>
              <a:ext uri="{FF2B5EF4-FFF2-40B4-BE49-F238E27FC236}">
                <a16:creationId xmlns:a16="http://schemas.microsoft.com/office/drawing/2014/main" id="{0A58521F-3FF3-8B10-5997-A9DCCC66780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23578" y="1602677"/>
            <a:ext cx="3600000" cy="3600000"/>
          </a:xfrm>
          <a:prstGeom prst="rect">
            <a:avLst/>
          </a:prstGeom>
          <a:ln>
            <a:solidFill>
              <a:schemeClr val="bg1">
                <a:lumMod val="85000"/>
              </a:schemeClr>
            </a:solidFill>
          </a:ln>
        </p:spPr>
      </p:pic>
    </p:spTree>
    <p:extLst>
      <p:ext uri="{BB962C8B-B14F-4D97-AF65-F5344CB8AC3E}">
        <p14:creationId xmlns:p14="http://schemas.microsoft.com/office/powerpoint/2010/main" val="12787118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Text&#10;&#10;Description automatically generated">
            <a:extLst>
              <a:ext uri="{FF2B5EF4-FFF2-40B4-BE49-F238E27FC236}">
                <a16:creationId xmlns:a16="http://schemas.microsoft.com/office/drawing/2014/main" id="{4E61AE2F-60C3-9192-C97A-B4B80922135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39218" y="1650302"/>
            <a:ext cx="3601571" cy="3600000"/>
          </a:xfrm>
          <a:prstGeom prst="rect">
            <a:avLst/>
          </a:prstGeom>
          <a:ln>
            <a:solidFill>
              <a:schemeClr val="bg1">
                <a:lumMod val="85000"/>
              </a:schemeClr>
            </a:solidFill>
          </a:ln>
        </p:spPr>
      </p:pic>
      <p:sp>
        <p:nvSpPr>
          <p:cNvPr id="2" name="Title 1">
            <a:extLst>
              <a:ext uri="{FF2B5EF4-FFF2-40B4-BE49-F238E27FC236}">
                <a16:creationId xmlns:a16="http://schemas.microsoft.com/office/drawing/2014/main" id="{AEA4B498-ED62-47B5-9E3A-19A0B99A75BD}"/>
              </a:ext>
            </a:extLst>
          </p:cNvPr>
          <p:cNvSpPr>
            <a:spLocks noGrp="1"/>
          </p:cNvSpPr>
          <p:nvPr>
            <p:ph type="title"/>
          </p:nvPr>
        </p:nvSpPr>
        <p:spPr>
          <a:xfrm>
            <a:off x="360000" y="439899"/>
            <a:ext cx="14036225" cy="621962"/>
          </a:xfrm>
        </p:spPr>
        <p:txBody>
          <a:bodyPr>
            <a:normAutofit/>
          </a:bodyPr>
          <a:lstStyle/>
          <a:p>
            <a:r>
              <a:rPr lang="en-AU" sz="2600">
                <a:latin typeface="+mj-lt"/>
              </a:rPr>
              <a:t>Japanese encephalitis alert: social content</a:t>
            </a:r>
          </a:p>
        </p:txBody>
      </p:sp>
      <p:sp>
        <p:nvSpPr>
          <p:cNvPr id="4" name="Slide Number Placeholder 3">
            <a:extLst>
              <a:ext uri="{FF2B5EF4-FFF2-40B4-BE49-F238E27FC236}">
                <a16:creationId xmlns:a16="http://schemas.microsoft.com/office/drawing/2014/main" id="{BE890F69-7C0D-4F68-BE01-42BD45F9208C}"/>
              </a:ext>
            </a:extLst>
          </p:cNvPr>
          <p:cNvSpPr>
            <a:spLocks noGrp="1"/>
          </p:cNvSpPr>
          <p:nvPr>
            <p:ph type="sldNum" sz="quarter" idx="12"/>
          </p:nvPr>
        </p:nvSpPr>
        <p:spPr/>
        <p:txBody>
          <a:bodyPr/>
          <a:lstStyle/>
          <a:p>
            <a:fld id="{10A01DC5-1685-4615-8240-15192985C6A2}" type="slidenum">
              <a:rPr lang="en-AU" smtClean="0"/>
              <a:t>7</a:t>
            </a:fld>
            <a:endParaRPr lang="en-AU"/>
          </a:p>
        </p:txBody>
      </p:sp>
      <p:sp>
        <p:nvSpPr>
          <p:cNvPr id="11" name="TextBox 10">
            <a:extLst>
              <a:ext uri="{FF2B5EF4-FFF2-40B4-BE49-F238E27FC236}">
                <a16:creationId xmlns:a16="http://schemas.microsoft.com/office/drawing/2014/main" id="{C77371DD-A001-46E2-BC93-8F1D7B529EF8}"/>
              </a:ext>
            </a:extLst>
          </p:cNvPr>
          <p:cNvSpPr txBox="1"/>
          <p:nvPr/>
        </p:nvSpPr>
        <p:spPr>
          <a:xfrm>
            <a:off x="606075" y="5258876"/>
            <a:ext cx="3473800" cy="1107996"/>
          </a:xfrm>
          <a:prstGeom prst="rect">
            <a:avLst/>
          </a:prstGeom>
          <a:noFill/>
        </p:spPr>
        <p:txBody>
          <a:bodyPr wrap="square" lIns="91440" tIns="45720" rIns="91440" bIns="45720" anchor="t">
            <a:spAutoFit/>
          </a:bodyPr>
          <a:lstStyle/>
          <a:p>
            <a:r>
              <a:rPr lang="en-AU" sz="1100" b="1" dirty="0">
                <a:ea typeface="+mn-lt"/>
                <a:cs typeface="+mn-lt"/>
              </a:rPr>
              <a:t>Post: </a:t>
            </a:r>
            <a:r>
              <a:rPr lang="en-GB" sz="1100" dirty="0">
                <a:ea typeface="+mn-lt"/>
                <a:cs typeface="+mn-lt"/>
              </a:rPr>
              <a:t>Japanese encephalitis is a rare but serious disease spread to humans by infected mosquitoes. A free vaccine is available for people who are cleaning up water after floods in high risk LGAs. Immunity can take up to four weeks - contact your GP today and learn more about eligibility at health.nsw.gov.au/</a:t>
            </a:r>
            <a:r>
              <a:rPr lang="en-GB" sz="1100" dirty="0" err="1">
                <a:ea typeface="+mn-lt"/>
                <a:cs typeface="+mn-lt"/>
              </a:rPr>
              <a:t>jevaccine</a:t>
            </a:r>
            <a:r>
              <a:rPr lang="en-GB" sz="1100" dirty="0">
                <a:ea typeface="+mn-lt"/>
                <a:cs typeface="+mn-lt"/>
              </a:rPr>
              <a:t> </a:t>
            </a:r>
            <a:endParaRPr lang="en-AU" sz="1100" dirty="0"/>
          </a:p>
        </p:txBody>
      </p:sp>
      <p:sp>
        <p:nvSpPr>
          <p:cNvPr id="10" name="TextBox 9">
            <a:extLst>
              <a:ext uri="{FF2B5EF4-FFF2-40B4-BE49-F238E27FC236}">
                <a16:creationId xmlns:a16="http://schemas.microsoft.com/office/drawing/2014/main" id="{6508278C-2747-5C69-D56C-425C3B53BB23}"/>
              </a:ext>
            </a:extLst>
          </p:cNvPr>
          <p:cNvSpPr txBox="1"/>
          <p:nvPr/>
        </p:nvSpPr>
        <p:spPr>
          <a:xfrm>
            <a:off x="6323279" y="5257044"/>
            <a:ext cx="3774070" cy="1107996"/>
          </a:xfrm>
          <a:prstGeom prst="rect">
            <a:avLst/>
          </a:prstGeom>
          <a:noFill/>
        </p:spPr>
        <p:txBody>
          <a:bodyPr wrap="square" lIns="91440" tIns="45720" rIns="91440" bIns="45720" anchor="t">
            <a:spAutoFit/>
          </a:bodyPr>
          <a:lstStyle/>
          <a:p>
            <a:r>
              <a:rPr lang="en-AU" sz="1100" b="1" dirty="0">
                <a:solidFill>
                  <a:srgbClr val="000000"/>
                </a:solidFill>
                <a:ea typeface="+mn-lt"/>
                <a:cs typeface="+mn-lt"/>
              </a:rPr>
              <a:t>Post: </a:t>
            </a:r>
            <a:r>
              <a:rPr lang="en-GB" sz="1100" dirty="0">
                <a:ea typeface="+mn-lt"/>
                <a:cs typeface="+mn-lt"/>
              </a:rPr>
              <a:t>Japanese encephalitis is a rare but serious disease spread to humans by infected mosquitoes.</a:t>
            </a:r>
            <a:r>
              <a:rPr lang="en-GB" sz="1100" dirty="0">
                <a:solidFill>
                  <a:srgbClr val="22272B"/>
                </a:solidFill>
                <a:ea typeface="+mn-lt"/>
                <a:cs typeface="+mn-lt"/>
              </a:rPr>
              <a:t> </a:t>
            </a:r>
            <a:r>
              <a:rPr lang="en-AU" sz="1100" dirty="0">
                <a:solidFill>
                  <a:srgbClr val="000000"/>
                </a:solidFill>
                <a:ea typeface="+mn-lt"/>
                <a:cs typeface="+mn-lt"/>
              </a:rPr>
              <a:t>Flood waters can attract mosquitoes, increasing your risk. Protect against mosquito bites and if you are living or working in a high-risk LGA, you may be eligible for a free vaccine. Talk to your doctor and learn more at </a:t>
            </a:r>
            <a:r>
              <a:rPr lang="en-AU" sz="1100" dirty="0">
                <a:ea typeface="+mn-lt"/>
                <a:cs typeface="+mn-lt"/>
                <a:hlinkClick r:id="rId4"/>
              </a:rPr>
              <a:t>health.nsw.gov.au/jevaccine</a:t>
            </a:r>
            <a:endParaRPr lang="en-US" sz="1100" dirty="0"/>
          </a:p>
        </p:txBody>
      </p:sp>
      <p:sp>
        <p:nvSpPr>
          <p:cNvPr id="3" name="TextBox 2">
            <a:extLst>
              <a:ext uri="{FF2B5EF4-FFF2-40B4-BE49-F238E27FC236}">
                <a16:creationId xmlns:a16="http://schemas.microsoft.com/office/drawing/2014/main" id="{3FC5C935-EF71-3A73-87D3-988929B3784E}"/>
              </a:ext>
            </a:extLst>
          </p:cNvPr>
          <p:cNvSpPr txBox="1"/>
          <p:nvPr/>
        </p:nvSpPr>
        <p:spPr>
          <a:xfrm>
            <a:off x="606268" y="1137135"/>
            <a:ext cx="3565779" cy="276999"/>
          </a:xfrm>
          <a:prstGeom prst="rect">
            <a:avLst/>
          </a:prstGeom>
          <a:noFill/>
        </p:spPr>
        <p:txBody>
          <a:bodyPr wrap="square" rtlCol="0">
            <a:spAutoFit/>
          </a:bodyPr>
          <a:lstStyle/>
          <a:p>
            <a:pPr>
              <a:spcAft>
                <a:spcPts val="600"/>
              </a:spcAft>
            </a:pPr>
            <a:r>
              <a:rPr lang="en-US" sz="1200" u="sng">
                <a:hlinkClick r:id="rId5"/>
              </a:rPr>
              <a:t>Click here to download social tile</a:t>
            </a:r>
            <a:endParaRPr lang="en-AU" sz="1200" u="sng"/>
          </a:p>
        </p:txBody>
      </p:sp>
      <p:sp>
        <p:nvSpPr>
          <p:cNvPr id="20" name="TextBox 19">
            <a:extLst>
              <a:ext uri="{FF2B5EF4-FFF2-40B4-BE49-F238E27FC236}">
                <a16:creationId xmlns:a16="http://schemas.microsoft.com/office/drawing/2014/main" id="{AC7B88BD-FD15-3D3F-56CF-A413EE6050E2}"/>
              </a:ext>
            </a:extLst>
          </p:cNvPr>
          <p:cNvSpPr txBox="1"/>
          <p:nvPr/>
        </p:nvSpPr>
        <p:spPr>
          <a:xfrm>
            <a:off x="6310155" y="1135019"/>
            <a:ext cx="3565779" cy="276999"/>
          </a:xfrm>
          <a:prstGeom prst="rect">
            <a:avLst/>
          </a:prstGeom>
          <a:noFill/>
        </p:spPr>
        <p:txBody>
          <a:bodyPr wrap="square" rtlCol="0">
            <a:spAutoFit/>
          </a:bodyPr>
          <a:lstStyle/>
          <a:p>
            <a:r>
              <a:rPr lang="en-AU" sz="1200" u="sng">
                <a:hlinkClick r:id="rId6"/>
              </a:rPr>
              <a:t>Click here to download social tile </a:t>
            </a:r>
            <a:endParaRPr lang="en-AU" sz="1200" u="sng"/>
          </a:p>
        </p:txBody>
      </p:sp>
      <p:pic>
        <p:nvPicPr>
          <p:cNvPr id="8" name="Picture 7">
            <a:extLst>
              <a:ext uri="{FF2B5EF4-FFF2-40B4-BE49-F238E27FC236}">
                <a16:creationId xmlns:a16="http://schemas.microsoft.com/office/drawing/2014/main" id="{24961490-9F38-8A1B-6D4F-D0C3601D5A8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01381" y="1676615"/>
            <a:ext cx="3601571" cy="3600000"/>
          </a:xfrm>
          <a:prstGeom prst="rect">
            <a:avLst/>
          </a:prstGeom>
          <a:ln>
            <a:solidFill>
              <a:schemeClr val="bg1">
                <a:lumMod val="85000"/>
              </a:schemeClr>
            </a:solidFill>
          </a:ln>
        </p:spPr>
      </p:pic>
    </p:spTree>
    <p:extLst>
      <p:ext uri="{BB962C8B-B14F-4D97-AF65-F5344CB8AC3E}">
        <p14:creationId xmlns:p14="http://schemas.microsoft.com/office/powerpoint/2010/main" val="34457617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4B498-ED62-47B5-9E3A-19A0B99A75BD}"/>
              </a:ext>
            </a:extLst>
          </p:cNvPr>
          <p:cNvSpPr>
            <a:spLocks noGrp="1"/>
          </p:cNvSpPr>
          <p:nvPr>
            <p:ph type="title"/>
          </p:nvPr>
        </p:nvSpPr>
        <p:spPr>
          <a:xfrm>
            <a:off x="360000" y="439899"/>
            <a:ext cx="14036225" cy="621962"/>
          </a:xfrm>
        </p:spPr>
        <p:txBody>
          <a:bodyPr>
            <a:normAutofit/>
          </a:bodyPr>
          <a:lstStyle/>
          <a:p>
            <a:r>
              <a:rPr lang="en-AU" sz="2600">
                <a:latin typeface="+mj-lt"/>
              </a:rPr>
              <a:t>Japanese encephalitis alert: industry posters</a:t>
            </a:r>
          </a:p>
        </p:txBody>
      </p:sp>
      <p:sp>
        <p:nvSpPr>
          <p:cNvPr id="4" name="Slide Number Placeholder 3">
            <a:extLst>
              <a:ext uri="{FF2B5EF4-FFF2-40B4-BE49-F238E27FC236}">
                <a16:creationId xmlns:a16="http://schemas.microsoft.com/office/drawing/2014/main" id="{BE890F69-7C0D-4F68-BE01-42BD45F9208C}"/>
              </a:ext>
            </a:extLst>
          </p:cNvPr>
          <p:cNvSpPr>
            <a:spLocks noGrp="1"/>
          </p:cNvSpPr>
          <p:nvPr>
            <p:ph type="sldNum" sz="quarter" idx="12"/>
          </p:nvPr>
        </p:nvSpPr>
        <p:spPr/>
        <p:txBody>
          <a:bodyPr/>
          <a:lstStyle/>
          <a:p>
            <a:fld id="{10A01DC5-1685-4615-8240-15192985C6A2}" type="slidenum">
              <a:rPr lang="en-AU" smtClean="0"/>
              <a:t>8</a:t>
            </a:fld>
            <a:endParaRPr lang="en-AU"/>
          </a:p>
        </p:txBody>
      </p:sp>
      <p:sp>
        <p:nvSpPr>
          <p:cNvPr id="9" name="TextBox 8">
            <a:extLst>
              <a:ext uri="{FF2B5EF4-FFF2-40B4-BE49-F238E27FC236}">
                <a16:creationId xmlns:a16="http://schemas.microsoft.com/office/drawing/2014/main" id="{F83EF1BD-A7C8-37FF-6DD6-9BFECF0B9224}"/>
              </a:ext>
            </a:extLst>
          </p:cNvPr>
          <p:cNvSpPr txBox="1"/>
          <p:nvPr/>
        </p:nvSpPr>
        <p:spPr>
          <a:xfrm>
            <a:off x="606268" y="1137329"/>
            <a:ext cx="3565779" cy="461665"/>
          </a:xfrm>
          <a:prstGeom prst="rect">
            <a:avLst/>
          </a:prstGeom>
          <a:noFill/>
        </p:spPr>
        <p:txBody>
          <a:bodyPr wrap="square" rtlCol="0">
            <a:spAutoFit/>
          </a:bodyPr>
          <a:lstStyle/>
          <a:p>
            <a:pPr>
              <a:spcAft>
                <a:spcPts val="600"/>
              </a:spcAft>
            </a:pPr>
            <a:r>
              <a:rPr lang="en-US" sz="1200">
                <a:hlinkClick r:id="rId3"/>
              </a:rPr>
              <a:t>Click here to download poster </a:t>
            </a:r>
            <a:br>
              <a:rPr lang="en-US" sz="1200"/>
            </a:br>
            <a:r>
              <a:rPr lang="en-US" sz="1200"/>
              <a:t>(for use in </a:t>
            </a:r>
            <a:r>
              <a:rPr lang="en-US" sz="1200">
                <a:hlinkClick r:id="rId4"/>
              </a:rPr>
              <a:t>high-risk settings </a:t>
            </a:r>
            <a:r>
              <a:rPr lang="en-US" sz="1200"/>
              <a:t>only)</a:t>
            </a:r>
            <a:endParaRPr lang="en-AU" sz="1200"/>
          </a:p>
        </p:txBody>
      </p:sp>
      <p:sp>
        <p:nvSpPr>
          <p:cNvPr id="12" name="TextBox 11">
            <a:extLst>
              <a:ext uri="{FF2B5EF4-FFF2-40B4-BE49-F238E27FC236}">
                <a16:creationId xmlns:a16="http://schemas.microsoft.com/office/drawing/2014/main" id="{DDCE6D1A-FEE5-9C91-841C-F753AA324ACE}"/>
              </a:ext>
            </a:extLst>
          </p:cNvPr>
          <p:cNvSpPr txBox="1"/>
          <p:nvPr/>
        </p:nvSpPr>
        <p:spPr>
          <a:xfrm>
            <a:off x="6319390" y="1137329"/>
            <a:ext cx="3565779" cy="276999"/>
          </a:xfrm>
          <a:prstGeom prst="rect">
            <a:avLst/>
          </a:prstGeom>
          <a:noFill/>
        </p:spPr>
        <p:txBody>
          <a:bodyPr wrap="square" rtlCol="0">
            <a:spAutoFit/>
          </a:bodyPr>
          <a:lstStyle/>
          <a:p>
            <a:pPr>
              <a:spcAft>
                <a:spcPts val="600"/>
              </a:spcAft>
            </a:pPr>
            <a:r>
              <a:rPr lang="en-US" sz="1200">
                <a:hlinkClick r:id="rId5"/>
              </a:rPr>
              <a:t>Click here to download poster </a:t>
            </a:r>
            <a:endParaRPr lang="en-US" sz="1200"/>
          </a:p>
        </p:txBody>
      </p:sp>
      <p:pic>
        <p:nvPicPr>
          <p:cNvPr id="11" name="Picture 10">
            <a:extLst>
              <a:ext uri="{FF2B5EF4-FFF2-40B4-BE49-F238E27FC236}">
                <a16:creationId xmlns:a16="http://schemas.microsoft.com/office/drawing/2014/main" id="{844BF165-1147-A0D5-F24B-5B8799598E99}"/>
              </a:ext>
            </a:extLst>
          </p:cNvPr>
          <p:cNvPicPr>
            <a:picLocks noChangeAspect="1"/>
          </p:cNvPicPr>
          <p:nvPr/>
        </p:nvPicPr>
        <p:blipFill>
          <a:blip r:embed="rId6"/>
          <a:stretch>
            <a:fillRect/>
          </a:stretch>
        </p:blipFill>
        <p:spPr>
          <a:xfrm>
            <a:off x="710411" y="1783375"/>
            <a:ext cx="3117739" cy="4453913"/>
          </a:xfrm>
          <a:prstGeom prst="rect">
            <a:avLst/>
          </a:prstGeom>
          <a:effectLst>
            <a:outerShdw blurRad="50800" dist="38100" dir="2700000" algn="tl" rotWithShape="0">
              <a:prstClr val="black">
                <a:alpha val="40000"/>
              </a:prstClr>
            </a:outerShdw>
          </a:effectLst>
        </p:spPr>
      </p:pic>
      <p:pic>
        <p:nvPicPr>
          <p:cNvPr id="8" name="Picture 7">
            <a:extLst>
              <a:ext uri="{FF2B5EF4-FFF2-40B4-BE49-F238E27FC236}">
                <a16:creationId xmlns:a16="http://schemas.microsoft.com/office/drawing/2014/main" id="{934A4783-B8F8-3AA9-E872-158CE7CA1365}"/>
              </a:ext>
            </a:extLst>
          </p:cNvPr>
          <p:cNvPicPr>
            <a:picLocks noChangeAspect="1"/>
          </p:cNvPicPr>
          <p:nvPr/>
        </p:nvPicPr>
        <p:blipFill>
          <a:blip r:embed="rId7"/>
          <a:stretch>
            <a:fillRect/>
          </a:stretch>
        </p:blipFill>
        <p:spPr>
          <a:xfrm>
            <a:off x="6422379" y="1783375"/>
            <a:ext cx="3187700" cy="4461220"/>
          </a:xfrm>
          <a:prstGeom prst="rect">
            <a:avLst/>
          </a:prstGeom>
          <a:effectLst>
            <a:outerShdw blurRad="50800" dist="38100" dir="2700000" algn="ctr" rotWithShape="0">
              <a:srgbClr val="000000">
                <a:alpha val="40000"/>
              </a:srgbClr>
            </a:outerShdw>
          </a:effectLst>
        </p:spPr>
      </p:pic>
    </p:spTree>
    <p:extLst>
      <p:ext uri="{BB962C8B-B14F-4D97-AF65-F5344CB8AC3E}">
        <p14:creationId xmlns:p14="http://schemas.microsoft.com/office/powerpoint/2010/main" val="11412029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4B498-ED62-47B5-9E3A-19A0B99A75BD}"/>
              </a:ext>
            </a:extLst>
          </p:cNvPr>
          <p:cNvSpPr>
            <a:spLocks noGrp="1"/>
          </p:cNvSpPr>
          <p:nvPr>
            <p:ph type="title"/>
          </p:nvPr>
        </p:nvSpPr>
        <p:spPr>
          <a:xfrm>
            <a:off x="360000" y="439899"/>
            <a:ext cx="14036225" cy="621962"/>
          </a:xfrm>
        </p:spPr>
        <p:txBody>
          <a:bodyPr>
            <a:normAutofit/>
          </a:bodyPr>
          <a:lstStyle/>
          <a:p>
            <a:r>
              <a:rPr lang="en-AU" sz="2600">
                <a:latin typeface="+mj-lt"/>
              </a:rPr>
              <a:t>Japanese encephalitis alert: industry posters</a:t>
            </a:r>
          </a:p>
        </p:txBody>
      </p:sp>
      <p:sp>
        <p:nvSpPr>
          <p:cNvPr id="4" name="Slide Number Placeholder 3">
            <a:extLst>
              <a:ext uri="{FF2B5EF4-FFF2-40B4-BE49-F238E27FC236}">
                <a16:creationId xmlns:a16="http://schemas.microsoft.com/office/drawing/2014/main" id="{BE890F69-7C0D-4F68-BE01-42BD45F9208C}"/>
              </a:ext>
            </a:extLst>
          </p:cNvPr>
          <p:cNvSpPr>
            <a:spLocks noGrp="1"/>
          </p:cNvSpPr>
          <p:nvPr>
            <p:ph type="sldNum" sz="quarter" idx="12"/>
          </p:nvPr>
        </p:nvSpPr>
        <p:spPr/>
        <p:txBody>
          <a:bodyPr/>
          <a:lstStyle/>
          <a:p>
            <a:fld id="{10A01DC5-1685-4615-8240-15192985C6A2}" type="slidenum">
              <a:rPr lang="en-AU" smtClean="0"/>
              <a:t>9</a:t>
            </a:fld>
            <a:endParaRPr lang="en-AU"/>
          </a:p>
        </p:txBody>
      </p:sp>
      <p:sp>
        <p:nvSpPr>
          <p:cNvPr id="10" name="TextBox 9">
            <a:extLst>
              <a:ext uri="{FF2B5EF4-FFF2-40B4-BE49-F238E27FC236}">
                <a16:creationId xmlns:a16="http://schemas.microsoft.com/office/drawing/2014/main" id="{5759291A-8BC7-C471-4D06-D77B7130F7EA}"/>
              </a:ext>
            </a:extLst>
          </p:cNvPr>
          <p:cNvSpPr txBox="1"/>
          <p:nvPr/>
        </p:nvSpPr>
        <p:spPr>
          <a:xfrm>
            <a:off x="606268" y="1137329"/>
            <a:ext cx="3565779" cy="276999"/>
          </a:xfrm>
          <a:prstGeom prst="rect">
            <a:avLst/>
          </a:prstGeom>
          <a:noFill/>
        </p:spPr>
        <p:txBody>
          <a:bodyPr wrap="square" rtlCol="0">
            <a:spAutoFit/>
          </a:bodyPr>
          <a:lstStyle/>
          <a:p>
            <a:pPr>
              <a:spcAft>
                <a:spcPts val="600"/>
              </a:spcAft>
            </a:pPr>
            <a:r>
              <a:rPr lang="en-US" sz="1200" u="sng">
                <a:hlinkClick r:id="rId3"/>
              </a:rPr>
              <a:t>Click here to download poster</a:t>
            </a:r>
            <a:endParaRPr lang="en-AU" sz="1200" u="sng"/>
          </a:p>
        </p:txBody>
      </p:sp>
      <p:sp>
        <p:nvSpPr>
          <p:cNvPr id="13" name="TextBox 12">
            <a:extLst>
              <a:ext uri="{FF2B5EF4-FFF2-40B4-BE49-F238E27FC236}">
                <a16:creationId xmlns:a16="http://schemas.microsoft.com/office/drawing/2014/main" id="{B0DBA339-DA82-FF8F-03A0-F183D9ECA8DA}"/>
              </a:ext>
            </a:extLst>
          </p:cNvPr>
          <p:cNvSpPr txBox="1"/>
          <p:nvPr/>
        </p:nvSpPr>
        <p:spPr>
          <a:xfrm>
            <a:off x="6313903" y="1142151"/>
            <a:ext cx="3565779" cy="276999"/>
          </a:xfrm>
          <a:prstGeom prst="rect">
            <a:avLst/>
          </a:prstGeom>
          <a:noFill/>
        </p:spPr>
        <p:txBody>
          <a:bodyPr wrap="square" rtlCol="0">
            <a:spAutoFit/>
          </a:bodyPr>
          <a:lstStyle/>
          <a:p>
            <a:pPr>
              <a:spcAft>
                <a:spcPts val="600"/>
              </a:spcAft>
            </a:pPr>
            <a:r>
              <a:rPr lang="en-US" sz="1200" u="sng">
                <a:hlinkClick r:id="rId4"/>
              </a:rPr>
              <a:t>Click here to download poster</a:t>
            </a:r>
            <a:endParaRPr lang="en-AU" sz="1200" u="sng"/>
          </a:p>
        </p:txBody>
      </p:sp>
      <p:pic>
        <p:nvPicPr>
          <p:cNvPr id="3" name="Picture 2">
            <a:extLst>
              <a:ext uri="{FF2B5EF4-FFF2-40B4-BE49-F238E27FC236}">
                <a16:creationId xmlns:a16="http://schemas.microsoft.com/office/drawing/2014/main" id="{46E8906A-3EB4-07E5-C0D2-2FA86D2A2B7C}"/>
              </a:ext>
            </a:extLst>
          </p:cNvPr>
          <p:cNvPicPr>
            <a:picLocks noChangeAspect="1"/>
          </p:cNvPicPr>
          <p:nvPr/>
        </p:nvPicPr>
        <p:blipFill>
          <a:blip r:embed="rId5"/>
          <a:stretch>
            <a:fillRect/>
          </a:stretch>
        </p:blipFill>
        <p:spPr>
          <a:xfrm>
            <a:off x="6422378" y="1782665"/>
            <a:ext cx="3134935" cy="4454623"/>
          </a:xfrm>
          <a:prstGeom prst="rect">
            <a:avLst/>
          </a:prstGeom>
          <a:effectLst>
            <a:outerShdw blurRad="50800" dist="38100" dir="2700000" algn="tl" rotWithShape="0">
              <a:prstClr val="black">
                <a:alpha val="40000"/>
              </a:prstClr>
            </a:outerShdw>
          </a:effectLst>
        </p:spPr>
      </p:pic>
      <p:pic>
        <p:nvPicPr>
          <p:cNvPr id="5" name="Picture 4">
            <a:extLst>
              <a:ext uri="{FF2B5EF4-FFF2-40B4-BE49-F238E27FC236}">
                <a16:creationId xmlns:a16="http://schemas.microsoft.com/office/drawing/2014/main" id="{0411E66E-8BC3-60EC-C37D-83BE31D8D74B}"/>
              </a:ext>
            </a:extLst>
          </p:cNvPr>
          <p:cNvPicPr>
            <a:picLocks noChangeAspect="1"/>
          </p:cNvPicPr>
          <p:nvPr/>
        </p:nvPicPr>
        <p:blipFill>
          <a:blip r:embed="rId6"/>
          <a:stretch>
            <a:fillRect/>
          </a:stretch>
        </p:blipFill>
        <p:spPr>
          <a:xfrm>
            <a:off x="700322" y="1780609"/>
            <a:ext cx="3145574" cy="445667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3320899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heme/theme1.xml><?xml version="1.0" encoding="utf-8"?>
<a:theme xmlns:a="http://schemas.openxmlformats.org/drawingml/2006/main" name="NSWG Corporate">
  <a:themeElements>
    <a:clrScheme name="NSWG Corporate">
      <a:dk1>
        <a:srgbClr val="22272B"/>
      </a:dk1>
      <a:lt1>
        <a:srgbClr val="FFFFFF"/>
      </a:lt1>
      <a:dk2>
        <a:srgbClr val="D7153A"/>
      </a:dk2>
      <a:lt2>
        <a:srgbClr val="002664"/>
      </a:lt2>
      <a:accent1>
        <a:srgbClr val="002664"/>
      </a:accent1>
      <a:accent2>
        <a:srgbClr val="CBEDFD"/>
      </a:accent2>
      <a:accent3>
        <a:srgbClr val="146CFD"/>
      </a:accent3>
      <a:accent4>
        <a:srgbClr val="8CE0FF"/>
      </a:accent4>
      <a:accent5>
        <a:srgbClr val="495054"/>
      </a:accent5>
      <a:accent6>
        <a:srgbClr val="FFB8C1"/>
      </a:accent6>
      <a:hlink>
        <a:srgbClr val="22272B"/>
      </a:hlink>
      <a:folHlink>
        <a:srgbClr val="22272B"/>
      </a:folHlink>
    </a:clrScheme>
    <a:fontScheme name="NSW Government">
      <a:majorFont>
        <a:latin typeface="Public Sans"/>
        <a:ea typeface=""/>
        <a:cs typeface=""/>
      </a:majorFont>
      <a:minorFont>
        <a:latin typeface="Public Sans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SWGov_B1_PPT_Corporate_v3" id="{394730F3-E2CB-4F7F-9864-878478E3344D}" vid="{CABB42E2-2283-4F4E-86BD-C2DC53207390}"/>
    </a:ext>
  </a:extLst>
</a:theme>
</file>

<file path=ppt/theme/theme2.xml><?xml version="1.0" encoding="utf-8"?>
<a:theme xmlns:a="http://schemas.openxmlformats.org/drawingml/2006/main" name="1_NSWGOV">
  <a:themeElements>
    <a:clrScheme name="Custom 2">
      <a:dk1>
        <a:sysClr val="windowText" lastClr="000000"/>
      </a:dk1>
      <a:lt1>
        <a:sysClr val="window" lastClr="FFFFFF"/>
      </a:lt1>
      <a:dk2>
        <a:srgbClr val="4F4F4F"/>
      </a:dk2>
      <a:lt2>
        <a:srgbClr val="E7E6E6"/>
      </a:lt2>
      <a:accent1>
        <a:srgbClr val="D7153A"/>
      </a:accent1>
      <a:accent2>
        <a:srgbClr val="002664"/>
      </a:accent2>
      <a:accent3>
        <a:srgbClr val="0A7CB9"/>
      </a:accent3>
      <a:accent4>
        <a:srgbClr val="84BDDC"/>
      </a:accent4>
      <a:accent5>
        <a:srgbClr val="00ABE6"/>
      </a:accent5>
      <a:accent6>
        <a:srgbClr val="4F4F4F"/>
      </a:accent6>
      <a:hlink>
        <a:srgbClr val="000000"/>
      </a:hlink>
      <a:folHlink>
        <a:srgbClr val="000000"/>
      </a:folHlink>
    </a:clrScheme>
    <a:fontScheme name="NSW Governme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lgn="l">
          <a:lnSpc>
            <a:spcPct val="90000"/>
          </a:lnSpc>
          <a:spcAft>
            <a:spcPts val="800"/>
          </a:spcAft>
          <a:defRPr sz="1600" dirty="0" err="1" smtClean="0">
            <a:solidFill>
              <a:schemeClr val="tx2"/>
            </a:solidFill>
          </a:defRPr>
        </a:defPPr>
      </a:lstStyle>
    </a:txDef>
  </a:objectDefaults>
  <a:extraClrSchemeLst/>
  <a:extLst>
    <a:ext uri="{05A4C25C-085E-4340-85A3-A5531E510DB2}">
      <thm15:themeFamily xmlns:thm15="http://schemas.microsoft.com/office/thememl/2012/main" name="NSWGOV" id="{39228580-6E44-4C36-BBAF-82D4EAC402AF}" vid="{59F38EE4-06E4-49D6-8AFB-A7713B8ED5F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C4E285D0F207F47A882EAF5A4C5D08A" ma:contentTypeVersion="2" ma:contentTypeDescription="Create a new document." ma:contentTypeScope="" ma:versionID="a86760c0ed7e99387d8d4b79e934e11f">
  <xsd:schema xmlns:xsd="http://www.w3.org/2001/XMLSchema" xmlns:xs="http://www.w3.org/2001/XMLSchema" xmlns:p="http://schemas.microsoft.com/office/2006/metadata/properties" xmlns:ns1="http://schemas.microsoft.com/sharepoint/v3" targetNamespace="http://schemas.microsoft.com/office/2006/metadata/properties" ma:root="true" ma:fieldsID="68844647e0082dfb5803ed410a30d882"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BF683F0-1A33-4164-95E8-8996F452DAD1}"/>
</file>

<file path=customXml/itemProps2.xml><?xml version="1.0" encoding="utf-8"?>
<ds:datastoreItem xmlns:ds="http://schemas.openxmlformats.org/officeDocument/2006/customXml" ds:itemID="{A760109C-8902-4CA5-9F0A-5BEB05033C11}"/>
</file>

<file path=customXml/itemProps3.xml><?xml version="1.0" encoding="utf-8"?>
<ds:datastoreItem xmlns:ds="http://schemas.openxmlformats.org/officeDocument/2006/customXml" ds:itemID="{199E49ED-1897-4DA1-8DC9-4194E8F41EA6}"/>
</file>

<file path=docProps/app.xml><?xml version="1.0" encoding="utf-8"?>
<Properties xmlns="http://schemas.openxmlformats.org/officeDocument/2006/extended-properties" xmlns:vt="http://schemas.openxmlformats.org/officeDocument/2006/docPropsVTypes">
  <Template>NSWGov_PowerPoint_Corporate</Template>
  <TotalTime>0</TotalTime>
  <Words>1623</Words>
  <Application>Microsoft Office PowerPoint</Application>
  <PresentationFormat>Widescreen</PresentationFormat>
  <Paragraphs>77</Paragraphs>
  <Slides>14</Slides>
  <Notes>9</Notes>
  <HiddenSlides>0</HiddenSlides>
  <MMClips>0</MMClips>
  <ScaleCrop>false</ScaleCrop>
  <HeadingPairs>
    <vt:vector size="4" baseType="variant">
      <vt:variant>
        <vt:lpstr>Theme</vt:lpstr>
      </vt:variant>
      <vt:variant>
        <vt:i4>2</vt:i4>
      </vt:variant>
      <vt:variant>
        <vt:lpstr>Slide Titles</vt:lpstr>
      </vt:variant>
      <vt:variant>
        <vt:i4>14</vt:i4>
      </vt:variant>
    </vt:vector>
  </HeadingPairs>
  <TitlesOfParts>
    <vt:vector size="16" baseType="lpstr">
      <vt:lpstr>NSWG Corporate</vt:lpstr>
      <vt:lpstr>1_NSWGOV</vt:lpstr>
      <vt:lpstr>PowerPoint Presentation</vt:lpstr>
      <vt:lpstr>PowerPoint Presentation</vt:lpstr>
      <vt:lpstr>PowerPoint Presentation</vt:lpstr>
      <vt:lpstr>PowerPoint Presentation</vt:lpstr>
      <vt:lpstr>Japanese encephalitis alert: social content</vt:lpstr>
      <vt:lpstr>Japanese encephalitis alert: social content</vt:lpstr>
      <vt:lpstr>Japanese encephalitis alert: social content</vt:lpstr>
      <vt:lpstr>Japanese encephalitis alert: industry posters</vt:lpstr>
      <vt:lpstr>Japanese encephalitis alert: industry posters</vt:lpstr>
      <vt:lpstr>Japanese encephalitis virus: translated fact sheet </vt:lpstr>
      <vt:lpstr>Japanese encephalitis virus: translated social tile</vt:lpstr>
      <vt:lpstr>Vaccination alert for identified local government areas </vt:lpstr>
      <vt:lpstr>Japanese encephalitis vaccination alert: social tile and poster</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ID-19 safety update:  COVID-19, flu and new self-isolation requirements Department of Customer Service</dc:title>
  <dc:creator>Jodie Wrigley</dc:creator>
  <cp:lastModifiedBy>Madeleine Kastner</cp:lastModifiedBy>
  <cp:revision>12</cp:revision>
  <cp:lastPrinted>2022-05-03T23:45:41Z</cp:lastPrinted>
  <dcterms:created xsi:type="dcterms:W3CDTF">2021-12-02T06:13:49Z</dcterms:created>
  <dcterms:modified xsi:type="dcterms:W3CDTF">2022-11-09T03:49: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4E285D0F207F47A882EAF5A4C5D08A</vt:lpwstr>
  </property>
  <property fmtid="{D5CDD505-2E9C-101B-9397-08002B2CF9AE}" pid="3" name="MediaServiceImageTags">
    <vt:lpwstr/>
  </property>
</Properties>
</file>